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heme/theme2.xml" ContentType="application/vnd.openxmlformats-officedocument.theme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tags/tag273.xml" ContentType="application/vnd.openxmlformats-officedocument.presentationml.tags+xml"/>
  <Override PartName="/ppt/tags/tag274.xml" ContentType="application/vnd.openxmlformats-officedocument.presentationml.tags+xml"/>
  <Override PartName="/ppt/tags/tag275.xml" ContentType="application/vnd.openxmlformats-officedocument.presentationml.tags+xml"/>
  <Override PartName="/ppt/tags/tag276.xml" ContentType="application/vnd.openxmlformats-officedocument.presentationml.tags+xml"/>
  <Override PartName="/ppt/tags/tag277.xml" ContentType="application/vnd.openxmlformats-officedocument.presentationml.tags+xml"/>
  <Override PartName="/ppt/tags/tag278.xml" ContentType="application/vnd.openxmlformats-officedocument.presentationml.tags+xml"/>
  <Override PartName="/ppt/tags/tag279.xml" ContentType="application/vnd.openxmlformats-officedocument.presentationml.tags+xml"/>
  <Override PartName="/ppt/tags/tag280.xml" ContentType="application/vnd.openxmlformats-officedocument.presentationml.tags+xml"/>
  <Override PartName="/ppt/tags/tag281.xml" ContentType="application/vnd.openxmlformats-officedocument.presentationml.tags+xml"/>
  <Override PartName="/ppt/tags/tag282.xml" ContentType="application/vnd.openxmlformats-officedocument.presentationml.tags+xml"/>
  <Override PartName="/ppt/tags/tag283.xml" ContentType="application/vnd.openxmlformats-officedocument.presentationml.tags+xml"/>
  <Override PartName="/ppt/tags/tag284.xml" ContentType="application/vnd.openxmlformats-officedocument.presentationml.tags+xml"/>
  <Override PartName="/ppt/tags/tag285.xml" ContentType="application/vnd.openxmlformats-officedocument.presentationml.tags+xml"/>
  <Override PartName="/ppt/tags/tag286.xml" ContentType="application/vnd.openxmlformats-officedocument.presentationml.tags+xml"/>
  <Override PartName="/ppt/tags/tag287.xml" ContentType="application/vnd.openxmlformats-officedocument.presentationml.tags+xml"/>
  <Override PartName="/ppt/tags/tag288.xml" ContentType="application/vnd.openxmlformats-officedocument.presentationml.tags+xml"/>
  <Override PartName="/ppt/tags/tag289.xml" ContentType="application/vnd.openxmlformats-officedocument.presentationml.tags+xml"/>
  <Override PartName="/ppt/tags/tag290.xml" ContentType="application/vnd.openxmlformats-officedocument.presentationml.tags+xml"/>
  <Override PartName="/ppt/tags/tag291.xml" ContentType="application/vnd.openxmlformats-officedocument.presentationml.tags+xml"/>
  <Override PartName="/ppt/tags/tag292.xml" ContentType="application/vnd.openxmlformats-officedocument.presentationml.tags+xml"/>
  <Override PartName="/ppt/tags/tag293.xml" ContentType="application/vnd.openxmlformats-officedocument.presentationml.tags+xml"/>
  <Override PartName="/ppt/tags/tag294.xml" ContentType="application/vnd.openxmlformats-officedocument.presentationml.tags+xml"/>
  <Override PartName="/ppt/tags/tag295.xml" ContentType="application/vnd.openxmlformats-officedocument.presentationml.tags+xml"/>
  <Override PartName="/ppt/tags/tag296.xml" ContentType="application/vnd.openxmlformats-officedocument.presentationml.tags+xml"/>
  <Override PartName="/ppt/tags/tag297.xml" ContentType="application/vnd.openxmlformats-officedocument.presentationml.tags+xml"/>
  <Override PartName="/ppt/tags/tag298.xml" ContentType="application/vnd.openxmlformats-officedocument.presentationml.tags+xml"/>
  <Override PartName="/ppt/tags/tag299.xml" ContentType="application/vnd.openxmlformats-officedocument.presentationml.tags+xml"/>
  <Override PartName="/ppt/tags/tag300.xml" ContentType="application/vnd.openxmlformats-officedocument.presentationml.tags+xml"/>
  <Override PartName="/ppt/tags/tag301.xml" ContentType="application/vnd.openxmlformats-officedocument.presentationml.tags+xml"/>
  <Override PartName="/ppt/tags/tag302.xml" ContentType="application/vnd.openxmlformats-officedocument.presentationml.tags+xml"/>
  <Override PartName="/ppt/tags/tag303.xml" ContentType="application/vnd.openxmlformats-officedocument.presentationml.tags+xml"/>
  <Override PartName="/ppt/tags/tag304.xml" ContentType="application/vnd.openxmlformats-officedocument.presentationml.tags+xml"/>
  <Override PartName="/ppt/tags/tag305.xml" ContentType="application/vnd.openxmlformats-officedocument.presentationml.tags+xml"/>
  <Override PartName="/ppt/tags/tag306.xml" ContentType="application/vnd.openxmlformats-officedocument.presentationml.tags+xml"/>
  <Override PartName="/ppt/tags/tag307.xml" ContentType="application/vnd.openxmlformats-officedocument.presentationml.tags+xml"/>
  <Override PartName="/ppt/tags/tag308.xml" ContentType="application/vnd.openxmlformats-officedocument.presentationml.tags+xml"/>
  <Override PartName="/ppt/tags/tag309.xml" ContentType="application/vnd.openxmlformats-officedocument.presentationml.tags+xml"/>
  <Override PartName="/ppt/tags/tag310.xml" ContentType="application/vnd.openxmlformats-officedocument.presentationml.tags+xml"/>
  <Override PartName="/ppt/tags/tag311.xml" ContentType="application/vnd.openxmlformats-officedocument.presentationml.tags+xml"/>
  <Override PartName="/ppt/tags/tag312.xml" ContentType="application/vnd.openxmlformats-officedocument.presentationml.tags+xml"/>
  <Override PartName="/ppt/tags/tag313.xml" ContentType="application/vnd.openxmlformats-officedocument.presentationml.tags+xml"/>
  <Override PartName="/ppt/notesSlides/notesSlide1.xml" ContentType="application/vnd.openxmlformats-officedocument.presentationml.notesSlide+xml"/>
  <Override PartName="/ppt/tags/tag314.xml" ContentType="application/vnd.openxmlformats-officedocument.presentationml.tags+xml"/>
  <Override PartName="/ppt/tags/tag315.xml" ContentType="application/vnd.openxmlformats-officedocument.presentationml.tags+xml"/>
  <Override PartName="/ppt/tags/tag316.xml" ContentType="application/vnd.openxmlformats-officedocument.presentationml.tags+xml"/>
  <Override PartName="/ppt/tags/tag317.xml" ContentType="application/vnd.openxmlformats-officedocument.presentationml.tags+xml"/>
  <Override PartName="/ppt/tags/tag318.xml" ContentType="application/vnd.openxmlformats-officedocument.presentationml.tags+xml"/>
  <Override PartName="/ppt/notesSlides/notesSlide2.xml" ContentType="application/vnd.openxmlformats-officedocument.presentationml.notesSlide+xml"/>
  <Override PartName="/ppt/tags/tag319.xml" ContentType="application/vnd.openxmlformats-officedocument.presentationml.tags+xml"/>
  <Override PartName="/ppt/tags/tag320.xml" ContentType="application/vnd.openxmlformats-officedocument.presentationml.tags+xml"/>
  <Override PartName="/ppt/tags/tag321.xml" ContentType="application/vnd.openxmlformats-officedocument.presentationml.tags+xml"/>
  <Override PartName="/ppt/tags/tag322.xml" ContentType="application/vnd.openxmlformats-officedocument.presentationml.tags+xml"/>
  <Override PartName="/ppt/tags/tag323.xml" ContentType="application/vnd.openxmlformats-officedocument.presentationml.tags+xml"/>
  <Override PartName="/ppt/notesSlides/notesSlide3.xml" ContentType="application/vnd.openxmlformats-officedocument.presentationml.notesSlide+xml"/>
  <Override PartName="/ppt/tags/tag324.xml" ContentType="application/vnd.openxmlformats-officedocument.presentationml.tags+xml"/>
  <Override PartName="/ppt/tags/tag325.xml" ContentType="application/vnd.openxmlformats-officedocument.presentationml.tags+xml"/>
  <Override PartName="/ppt/tags/tag326.xml" ContentType="application/vnd.openxmlformats-officedocument.presentationml.tags+xml"/>
  <Override PartName="/ppt/tags/tag327.xml" ContentType="application/vnd.openxmlformats-officedocument.presentationml.tags+xml"/>
  <Override PartName="/ppt/notesSlides/notesSlide4.xml" ContentType="application/vnd.openxmlformats-officedocument.presentationml.notesSlide+xml"/>
  <Override PartName="/ppt/tags/tag328.xml" ContentType="application/vnd.openxmlformats-officedocument.presentationml.tags+xml"/>
  <Override PartName="/ppt/tags/tag329.xml" ContentType="application/vnd.openxmlformats-officedocument.presentationml.tags+xml"/>
  <Override PartName="/ppt/tags/tag330.xml" ContentType="application/vnd.openxmlformats-officedocument.presentationml.tags+xml"/>
  <Override PartName="/ppt/tags/tag331.xml" ContentType="application/vnd.openxmlformats-officedocument.presentationml.tags+xml"/>
  <Override PartName="/ppt/notesSlides/notesSlide5.xml" ContentType="application/vnd.openxmlformats-officedocument.presentationml.notesSlide+xml"/>
  <Override PartName="/ppt/tags/tag332.xml" ContentType="application/vnd.openxmlformats-officedocument.presentationml.tags+xml"/>
  <Override PartName="/ppt/tags/tag333.xml" ContentType="application/vnd.openxmlformats-officedocument.presentationml.tags+xml"/>
  <Override PartName="/ppt/tags/tag334.xml" ContentType="application/vnd.openxmlformats-officedocument.presentationml.tags+xml"/>
  <Override PartName="/ppt/tags/tag335.xml" ContentType="application/vnd.openxmlformats-officedocument.presentationml.tags+xml"/>
  <Override PartName="/ppt/tags/tag336.xml" ContentType="application/vnd.openxmlformats-officedocument.presentationml.tags+xml"/>
  <Override PartName="/ppt/notesSlides/notesSlide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  <p:sldMasterId id="2147483864" r:id="rId2"/>
  </p:sldMasterIdLst>
  <p:notesMasterIdLst>
    <p:notesMasterId r:id="rId14"/>
  </p:notesMasterIdLst>
  <p:handoutMasterIdLst>
    <p:handoutMasterId r:id="rId15"/>
  </p:handoutMasterIdLst>
  <p:sldIdLst>
    <p:sldId id="3878" r:id="rId3"/>
    <p:sldId id="3702" r:id="rId4"/>
    <p:sldId id="3701" r:id="rId5"/>
    <p:sldId id="3864" r:id="rId6"/>
    <p:sldId id="3879" r:id="rId7"/>
    <p:sldId id="3880" r:id="rId8"/>
    <p:sldId id="3881" r:id="rId9"/>
    <p:sldId id="3882" r:id="rId10"/>
    <p:sldId id="3883" r:id="rId11"/>
    <p:sldId id="3884" r:id="rId12"/>
    <p:sldId id="3877" r:id="rId13"/>
  </p:sldIdLst>
  <p:sldSz cx="12192000" cy="6858000"/>
  <p:notesSz cx="7102475" cy="9388475"/>
  <p:custDataLst>
    <p:tags r:id="rId16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Haley Rich" initials="HR" lastIdx="1" clrIdx="0">
    <p:extLst>
      <p:ext uri="{19B8F6BF-5375-455C-9EA6-DF929625EA0E}">
        <p15:presenceInfo xmlns:p15="http://schemas.microsoft.com/office/powerpoint/2012/main" userId="S-1-5-21-1801674531-1788223648-725345543-11859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0D0D0"/>
    <a:srgbClr val="051C2C"/>
    <a:srgbClr val="000000"/>
    <a:srgbClr val="7F7F7F"/>
    <a:srgbClr val="AFC3FF"/>
    <a:srgbClr val="0D3171"/>
    <a:srgbClr val="E6E6E6"/>
    <a:srgbClr val="4D4D4D"/>
    <a:srgbClr val="00A9F4"/>
    <a:srgbClr val="1F40E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9D7B26C5-4107-4FEC-AEDC-1716B250A1EF}" styleName="Stijl, lich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C4B1156A-380E-4F78-BDF5-A606A8083BF9}" styleName="Stijl, gemiddeld 4 - Accent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4"/>
              </a:solidFill>
            </a:ln>
          </a:top>
        </a:tcBdr>
        <a:fill>
          <a:solidFill>
            <a:schemeClr val="accent4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4">
              <a:tint val="20000"/>
            </a:schemeClr>
          </a:solidFill>
        </a:fill>
      </a:tcStyle>
    </a:firstRow>
  </a:tblStyle>
  <a:tblStyle styleId="{D7AC3CCA-C797-4891-BE02-D94E43425B78}" styleName="Stijl, gemiddeld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 w="12700" cmpd="sng">
              <a:solidFill>
                <a:schemeClr val="dk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dk1">
              <a:tint val="20000"/>
            </a:schemeClr>
          </a:solidFill>
        </a:fill>
      </a:tcStyle>
    </a:firstRow>
  </a:tblStyle>
  <a:tblStyle styleId="{69CF1AB2-1976-4502-BF36-3FF5EA218861}" styleName="Stijl, gemiddeld 4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  <a:tblStyle styleId="{8A107856-5554-42FB-B03E-39F5DBC370BA}" styleName="Stijl, gemiddeld 4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2"/>
              </a:solidFill>
            </a:ln>
          </a:top>
        </a:tcBdr>
        <a:fill>
          <a:solidFill>
            <a:schemeClr val="accent2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2">
              <a:tint val="20000"/>
            </a:schemeClr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9871" autoAdjust="0"/>
    <p:restoredTop sz="79732" autoAdjust="0"/>
  </p:normalViewPr>
  <p:slideViewPr>
    <p:cSldViewPr snapToGrid="0" snapToObjects="1">
      <p:cViewPr>
        <p:scale>
          <a:sx n="99" d="100"/>
          <a:sy n="99" d="100"/>
        </p:scale>
        <p:origin x="144" y="-128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 snapToObjects="1">
      <p:cViewPr>
        <p:scale>
          <a:sx n="250" d="100"/>
          <a:sy n="250" d="100"/>
        </p:scale>
        <p:origin x="1290" y="-3738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presProps" Target="presProps.xml"/><Relationship Id="rId3" Type="http://schemas.openxmlformats.org/officeDocument/2006/relationships/slide" Target="slides/slide1.xml"/><Relationship Id="rId21" Type="http://schemas.openxmlformats.org/officeDocument/2006/relationships/tableStyles" Target="tableStyles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commentAuthors" Target="commentAuthors.xml"/><Relationship Id="rId2" Type="http://schemas.openxmlformats.org/officeDocument/2006/relationships/slideMaster" Target="slideMasters/slideMaster2.xml"/><Relationship Id="rId16" Type="http://schemas.openxmlformats.org/officeDocument/2006/relationships/tags" Target="tags/tag1.xml"/><Relationship Id="rId20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handoutMaster" Target="handoutMasters/handoutMaster1.xml"/><Relationship Id="rId10" Type="http://schemas.openxmlformats.org/officeDocument/2006/relationships/slide" Target="slides/slide8.xml"/><Relationship Id="rId19" Type="http://schemas.openxmlformats.org/officeDocument/2006/relationships/viewProps" Target="viewProps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notesMaster" Target="notesMasters/notes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504BC41E-EAC0-4D88-BA59-21A53C68F870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8163" cy="4699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0B5C4BB-B13C-4942-8E14-023ED14A3DB8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4022725" y="0"/>
            <a:ext cx="3078163" cy="4699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6BD5B6C-20AF-4F0F-889A-7AADC7535123}" type="datetime3">
              <a:rPr lang="en-US" smtClean="0"/>
              <a:t>20 January 2020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8221145-1027-4A39-B15A-DD84A26C2039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918575"/>
            <a:ext cx="3078163" cy="4699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A147719-50F5-4089-8123-86F5AF9C8847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4022725" y="8918575"/>
            <a:ext cx="3078163" cy="4699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2610F73-99D1-48E7-A408-B5EB5C8393F8}" type="slidenum">
              <a:rPr lang="en-US" smtClean="0"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73196516"/>
      </p:ext>
    </p:extLst>
  </p:cSld>
  <p:clrMap bg1="lt1" tx1="dk1" bg2="lt2" tx2="dk2" accent1="accent1" accent2="accent2" accent3="accent3" accent4="accent4" accent5="accent5" accent6="accent6" hlink="hlink" folHlink="folHlink"/>
  <p:hf hdr="0" ftr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7739" cy="471054"/>
          </a:xfrm>
          <a:prstGeom prst="rect">
            <a:avLst/>
          </a:prstGeom>
        </p:spPr>
        <p:txBody>
          <a:bodyPr vert="horz" lIns="914400" tIns="47114" rIns="94229" bIns="47114" rtlCol="0"/>
          <a:lstStyle>
            <a:lvl1pPr algn="l">
              <a:defRPr sz="900">
                <a:latin typeface="+mn-lt"/>
                <a:cs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4023092" y="0"/>
            <a:ext cx="3077739" cy="471054"/>
          </a:xfrm>
          <a:prstGeom prst="rect">
            <a:avLst/>
          </a:prstGeom>
        </p:spPr>
        <p:txBody>
          <a:bodyPr vert="horz" lIns="94229" tIns="47114" rIns="914400" bIns="47114" rtlCol="0"/>
          <a:lstStyle>
            <a:lvl1pPr algn="r">
              <a:defRPr sz="900">
                <a:latin typeface="+mn-lt"/>
                <a:cs typeface="Arial" panose="020B0604020202020204" pitchFamily="34" charset="0"/>
              </a:defRPr>
            </a:lvl1pPr>
          </a:lstStyle>
          <a:p>
            <a:fld id="{1DF34805-1F01-4BDA-A8CA-FCEA2B4BC8D0}" type="datetime3">
              <a:rPr lang="en-US" smtClean="0"/>
              <a:pPr/>
              <a:t>20 January 2020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35013" y="563563"/>
            <a:ext cx="5632450" cy="3168650"/>
          </a:xfrm>
          <a:prstGeom prst="rect">
            <a:avLst/>
          </a:prstGeom>
          <a:noFill/>
          <a:ln w="6350">
            <a:solidFill>
              <a:prstClr val="black"/>
            </a:solidFill>
          </a:ln>
        </p:spPr>
        <p:txBody>
          <a:bodyPr vert="horz" lIns="94229" tIns="47114" rIns="94229" bIns="47114" rtlCol="0" anchor="ctr"/>
          <a:lstStyle/>
          <a:p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917422"/>
            <a:ext cx="3077739" cy="471053"/>
          </a:xfrm>
          <a:prstGeom prst="rect">
            <a:avLst/>
          </a:prstGeom>
        </p:spPr>
        <p:txBody>
          <a:bodyPr vert="horz" lIns="914400" tIns="47114" rIns="94229" bIns="47114" rtlCol="0" anchor="b"/>
          <a:lstStyle>
            <a:lvl1pPr algn="l">
              <a:defRPr sz="900">
                <a:latin typeface="+mn-lt"/>
                <a:cs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4023092" y="8917422"/>
            <a:ext cx="3077739" cy="471053"/>
          </a:xfrm>
          <a:prstGeom prst="rect">
            <a:avLst/>
          </a:prstGeom>
        </p:spPr>
        <p:txBody>
          <a:bodyPr vert="horz" lIns="94229" tIns="47114" rIns="914400" bIns="47114" rtlCol="0" anchor="b"/>
          <a:lstStyle>
            <a:lvl1pPr algn="r">
              <a:defRPr sz="900">
                <a:latin typeface="+mn-lt"/>
                <a:cs typeface="Arial" panose="020B0604020202020204" pitchFamily="34" charset="0"/>
              </a:defRPr>
            </a:lvl1pPr>
          </a:lstStyle>
          <a:p>
            <a:fld id="{CF5EBCF4-26FC-4F76-8DA1-52FDDC328D44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9" name="Notes Placeholder 8">
            <a:extLst>
              <a:ext uri="{FF2B5EF4-FFF2-40B4-BE49-F238E27FC236}">
                <a16:creationId xmlns:a16="http://schemas.microsoft.com/office/drawing/2014/main" id="{0CB7C52D-12F1-4B27-95B4-DB01358D59B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709613" y="4518025"/>
            <a:ext cx="5683250" cy="3697288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280066646"/>
      </p:ext>
    </p:extLst>
  </p:cSld>
  <p:clrMap bg1="lt1" tx1="dk1" bg2="lt2" tx2="dk2" accent1="accent1" accent2="accent2" accent3="accent3" accent4="accent4" accent5="accent5" accent6="accent6" hlink="hlink" folHlink="folHlink"/>
  <p:hf hdr="0" ftr="0"/>
  <p:notesStyle>
    <a:lvl1pPr marL="0" algn="l" defTabSz="914400" rtl="0" eaLnBrk="1" latinLnBrk="0" hangingPunct="1">
      <a:lnSpc>
        <a:spcPct val="100000"/>
      </a:lnSpc>
      <a:spcBef>
        <a:spcPts val="400"/>
      </a:spcBef>
      <a:spcAft>
        <a:spcPts val="400"/>
      </a:spcAft>
      <a:defRPr lang="en-US" sz="1100" kern="1200">
        <a:solidFill>
          <a:schemeClr val="tx1"/>
        </a:solidFill>
        <a:latin typeface="+mn-lt"/>
        <a:ea typeface="+mn-ea"/>
        <a:cs typeface="Arial" panose="020B0604020202020204" pitchFamily="34" charset="0"/>
      </a:defRPr>
    </a:lvl1pPr>
    <a:lvl2pPr marL="171450" indent="-171450" algn="l" defTabSz="914400" rtl="0" eaLnBrk="1" latinLnBrk="0" hangingPunct="1">
      <a:buFont typeface="Wingdings" panose="05000000000000000000" pitchFamily="2" charset="2"/>
      <a:buChar char=""/>
      <a:defRPr lang="en-US" sz="1100" kern="1200">
        <a:solidFill>
          <a:schemeClr val="tx1"/>
        </a:solidFill>
        <a:latin typeface="+mn-lt"/>
        <a:ea typeface="+mn-ea"/>
        <a:cs typeface="+mn-cs"/>
      </a:defRPr>
    </a:lvl2pPr>
    <a:lvl3pPr marL="400050" indent="-171450" algn="l" defTabSz="914400" rtl="0" eaLnBrk="1" latinLnBrk="0" hangingPunct="1">
      <a:buFont typeface="Arial" panose="020B0604020202020204" pitchFamily="34" charset="0"/>
      <a:buChar char="―"/>
      <a:defRPr lang="en-US" sz="1100" kern="1200">
        <a:solidFill>
          <a:schemeClr val="tx1"/>
        </a:solidFill>
        <a:latin typeface="+mn-lt"/>
        <a:ea typeface="+mn-ea"/>
        <a:cs typeface="+mn-cs"/>
      </a:defRPr>
    </a:lvl3pPr>
    <a:lvl4pPr marL="579437" indent="-171450" algn="l" defTabSz="914400" rtl="0" eaLnBrk="1" latinLnBrk="0" hangingPunct="1">
      <a:buFont typeface="Arial" panose="020B0604020202020204" pitchFamily="34" charset="0"/>
      <a:buChar char="»"/>
      <a:defRPr lang="en-US" sz="1100" kern="1200">
        <a:solidFill>
          <a:schemeClr val="tx1"/>
        </a:solidFill>
        <a:latin typeface="+mn-lt"/>
        <a:ea typeface="+mn-ea"/>
        <a:cs typeface="+mn-cs"/>
      </a:defRPr>
    </a:lvl4pPr>
    <a:lvl5pPr marL="750887" indent="-171450" algn="l" defTabSz="914400" rtl="0" eaLnBrk="1" latinLnBrk="0" hangingPunct="1">
      <a:buFont typeface="Arial" panose="020B0604020202020204" pitchFamily="34" charset="0"/>
      <a:buChar char="›"/>
      <a:defRPr lang="en-US" sz="11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2849" name="Rectangle 7"/>
          <p:cNvSpPr>
            <a:spLocks noGrp="1" noChangeArrowheads="1"/>
          </p:cNvSpPr>
          <p:nvPr>
            <p:ph type="sldNum" sz="quarter" idx="5"/>
          </p:nvPr>
        </p:nvSpPr>
        <p:spPr>
          <a:xfrm>
            <a:off x="5995151" y="9738077"/>
            <a:ext cx="533614" cy="184666"/>
          </a:xfrm>
          <a:noFill/>
          <a:ln>
            <a:miter lim="800000"/>
            <a:headEnd/>
            <a:tailEnd/>
          </a:ln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727468B-38F6-4DC2-A767-D83AAE7DF58F}" type="slidenum">
              <a:rPr kumimoji="0" lang="en-GB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GB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charset="0"/>
            </a:endParaRPr>
          </a:p>
        </p:txBody>
      </p:sp>
      <p:sp>
        <p:nvSpPr>
          <p:cNvPr id="462850" name="doc id"/>
          <p:cNvSpPr>
            <a:spLocks noGrp="1" noChangeArrowheads="1"/>
          </p:cNvSpPr>
          <p:nvPr>
            <p:ph type="ftr" sz="quarter" idx="4"/>
          </p:nvPr>
        </p:nvSpPr>
        <p:spPr>
          <a:xfrm>
            <a:off x="5369793" y="114542"/>
            <a:ext cx="1158972" cy="123111"/>
          </a:xfrm>
          <a:noFill/>
          <a:ln>
            <a:miter lim="800000"/>
            <a:headEnd/>
            <a:tailEnd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charset="0"/>
              </a:rPr>
              <a:t>TOR-AAA123-20100608-</a:t>
            </a:r>
          </a:p>
        </p:txBody>
      </p:sp>
      <p:sp>
        <p:nvSpPr>
          <p:cNvPr id="462851" name="Rectangle 7"/>
          <p:cNvSpPr txBox="1">
            <a:spLocks noGrp="1" noChangeArrowheads="1"/>
          </p:cNvSpPr>
          <p:nvPr/>
        </p:nvSpPr>
        <p:spPr bwMode="auto">
          <a:xfrm>
            <a:off x="5995151" y="9738077"/>
            <a:ext cx="533614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b">
            <a:spAutoFit/>
          </a:bodyPr>
          <a:lstStyle/>
          <a:p>
            <a:pPr marL="0" marR="0" lvl="0" indent="0" algn="r" defTabSz="9119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A909CD1-55F8-4209-B9CE-C2FAB55DABA5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191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62852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-2932113" y="2398713"/>
            <a:ext cx="13250863" cy="7454900"/>
          </a:xfrm>
          <a:ln/>
        </p:spPr>
      </p:sp>
      <p:sp>
        <p:nvSpPr>
          <p:cNvPr id="462853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1301963" y="676134"/>
            <a:ext cx="4072094" cy="246221"/>
          </a:xfrm>
          <a:noFill/>
        </p:spPr>
        <p:txBody>
          <a:bodyPr/>
          <a:lstStyle/>
          <a:p>
            <a:pPr eaLnBrk="1" hangingPunct="1"/>
            <a:r>
              <a:rPr lang="en-US" dirty="0"/>
              <a:t>Bart +1 </a:t>
            </a:r>
            <a:r>
              <a:rPr lang="en-US" dirty="0" err="1"/>
              <a:t>voor</a:t>
            </a:r>
            <a:r>
              <a:rPr lang="en-US" dirty="0"/>
              <a:t> </a:t>
            </a:r>
            <a:r>
              <a:rPr lang="en-US" dirty="0" err="1"/>
              <a:t>presentatie</a:t>
            </a:r>
            <a:endParaRPr lang="en-US" dirty="0"/>
          </a:p>
          <a:p>
            <a:pPr eaLnBrk="1" hangingPunct="1"/>
            <a:r>
              <a:rPr lang="en-US" dirty="0" err="1"/>
              <a:t>Numpy</a:t>
            </a:r>
            <a:endParaRPr lang="en-US" dirty="0"/>
          </a:p>
          <a:p>
            <a:pPr eaLnBrk="1" hangingPunct="1"/>
            <a:r>
              <a:rPr lang="en-US" dirty="0" err="1"/>
              <a:t>Geheugenprobleem</a:t>
            </a:r>
            <a:r>
              <a:rPr lang="en-US" dirty="0"/>
              <a:t> </a:t>
            </a:r>
            <a:r>
              <a:rPr lang="en-US" dirty="0" err="1"/>
              <a:t>als</a:t>
            </a:r>
            <a:r>
              <a:rPr lang="en-US" dirty="0"/>
              <a:t> </a:t>
            </a:r>
            <a:r>
              <a:rPr lang="en-US" dirty="0" err="1"/>
              <a:t>elke</a:t>
            </a:r>
            <a:r>
              <a:rPr lang="en-US" dirty="0"/>
              <a:t> Node </a:t>
            </a:r>
            <a:r>
              <a:rPr lang="en-US" dirty="0" err="1"/>
              <a:t>opgeslagen</a:t>
            </a:r>
            <a:r>
              <a:rPr lang="en-US" dirty="0"/>
              <a:t> </a:t>
            </a:r>
            <a:r>
              <a:rPr lang="en-US" dirty="0" err="1"/>
              <a:t>moet</a:t>
            </a:r>
            <a:r>
              <a:rPr lang="en-US" dirty="0"/>
              <a:t> </a:t>
            </a:r>
            <a:r>
              <a:rPr lang="en-US" dirty="0" err="1"/>
              <a:t>worden</a:t>
            </a:r>
            <a:endParaRPr lang="en-US" dirty="0"/>
          </a:p>
          <a:p>
            <a:pPr eaLnBrk="1" hangingPunct="1"/>
            <a:r>
              <a:rPr lang="en-US" dirty="0"/>
              <a:t>State space </a:t>
            </a:r>
            <a:r>
              <a:rPr lang="en-US" dirty="0" err="1"/>
              <a:t>verkleinen</a:t>
            </a:r>
            <a:r>
              <a:rPr lang="en-US" dirty="0"/>
              <a:t> &gt; in </a:t>
            </a:r>
            <a:r>
              <a:rPr lang="en-US" dirty="0" err="1"/>
              <a:t>aantal</a:t>
            </a:r>
            <a:r>
              <a:rPr lang="en-US" dirty="0"/>
              <a:t> </a:t>
            </a:r>
            <a:r>
              <a:rPr lang="en-US" dirty="0" err="1"/>
              <a:t>zetten</a:t>
            </a:r>
            <a:r>
              <a:rPr lang="en-US" dirty="0"/>
              <a:t> of nodes</a:t>
            </a:r>
          </a:p>
          <a:p>
            <a:pPr eaLnBrk="1" hangingPunct="1"/>
            <a:r>
              <a:rPr lang="en-US" dirty="0" err="1"/>
              <a:t>Random_move</a:t>
            </a:r>
            <a:r>
              <a:rPr lang="en-US" dirty="0"/>
              <a:t> </a:t>
            </a:r>
            <a:r>
              <a:rPr lang="en-US" dirty="0" err="1"/>
              <a:t>algoritme</a:t>
            </a:r>
            <a:endParaRPr lang="en-US" dirty="0"/>
          </a:p>
          <a:p>
            <a:pPr eaLnBrk="1" hangingPunct="1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5958510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4" name="Tijdelijke aanduiding voor datum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1DF34805-1F01-4BDA-A8CA-FCEA2B4BC8D0}" type="datetime3">
              <a:rPr lang="en-US" smtClean="0"/>
              <a:pPr/>
              <a:t>20 January 2020</a:t>
            </a:fld>
            <a:endParaRPr lang="en-US"/>
          </a:p>
        </p:txBody>
      </p:sp>
      <p:sp>
        <p:nvSpPr>
          <p:cNvPr id="5" name="Tijdelijke aanduiding voor dianumm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F5EBCF4-26FC-4F76-8DA1-52FDDC328D44}" type="slidenum">
              <a:rPr lang="en-US" smtClean="0"/>
              <a:pPr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5716134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2849" name="Rectangle 7"/>
          <p:cNvSpPr>
            <a:spLocks noGrp="1" noChangeArrowheads="1"/>
          </p:cNvSpPr>
          <p:nvPr>
            <p:ph type="sldNum" sz="quarter" idx="5"/>
          </p:nvPr>
        </p:nvSpPr>
        <p:spPr>
          <a:xfrm>
            <a:off x="5995151" y="9738077"/>
            <a:ext cx="533614" cy="184666"/>
          </a:xfrm>
          <a:noFill/>
          <a:ln>
            <a:miter lim="800000"/>
            <a:headEnd/>
            <a:tailEnd/>
          </a:ln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727468B-38F6-4DC2-A767-D83AAE7DF58F}" type="slidenum">
              <a:rPr kumimoji="0" lang="en-GB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GB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charset="0"/>
            </a:endParaRPr>
          </a:p>
        </p:txBody>
      </p:sp>
      <p:sp>
        <p:nvSpPr>
          <p:cNvPr id="462850" name="doc id"/>
          <p:cNvSpPr>
            <a:spLocks noGrp="1" noChangeArrowheads="1"/>
          </p:cNvSpPr>
          <p:nvPr>
            <p:ph type="ftr" sz="quarter" idx="4"/>
          </p:nvPr>
        </p:nvSpPr>
        <p:spPr>
          <a:xfrm>
            <a:off x="5369793" y="114542"/>
            <a:ext cx="1158972" cy="123111"/>
          </a:xfrm>
          <a:noFill/>
          <a:ln>
            <a:miter lim="800000"/>
            <a:headEnd/>
            <a:tailEnd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charset="0"/>
              </a:rPr>
              <a:t>TOR-AAA123-20100608-</a:t>
            </a:r>
          </a:p>
        </p:txBody>
      </p:sp>
      <p:sp>
        <p:nvSpPr>
          <p:cNvPr id="462851" name="Rectangle 7"/>
          <p:cNvSpPr txBox="1">
            <a:spLocks noGrp="1" noChangeArrowheads="1"/>
          </p:cNvSpPr>
          <p:nvPr/>
        </p:nvSpPr>
        <p:spPr bwMode="auto">
          <a:xfrm>
            <a:off x="5995151" y="9738077"/>
            <a:ext cx="533614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b">
            <a:spAutoFit/>
          </a:bodyPr>
          <a:lstStyle/>
          <a:p>
            <a:pPr marL="0" marR="0" lvl="0" indent="0" algn="r" defTabSz="9119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A909CD1-55F8-4209-B9CE-C2FAB55DABA5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191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62852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-2932113" y="2398713"/>
            <a:ext cx="13250863" cy="7454900"/>
          </a:xfrm>
          <a:ln/>
        </p:spPr>
      </p:sp>
      <p:sp>
        <p:nvSpPr>
          <p:cNvPr id="462853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1301963" y="676134"/>
            <a:ext cx="4072094" cy="246221"/>
          </a:xfrm>
          <a:noFill/>
        </p:spPr>
        <p:txBody>
          <a:bodyPr/>
          <a:lstStyle/>
          <a:p>
            <a:pPr eaLnBrk="1" hangingPunct="1"/>
            <a:r>
              <a:rPr lang="en-US" dirty="0"/>
              <a:t>Bart +1 </a:t>
            </a:r>
            <a:r>
              <a:rPr lang="en-US" dirty="0" err="1"/>
              <a:t>voor</a:t>
            </a:r>
            <a:r>
              <a:rPr lang="en-US" dirty="0"/>
              <a:t> </a:t>
            </a:r>
            <a:r>
              <a:rPr lang="en-US" dirty="0" err="1"/>
              <a:t>presentatie</a:t>
            </a:r>
            <a:endParaRPr lang="en-US" dirty="0"/>
          </a:p>
          <a:p>
            <a:pPr eaLnBrk="1" hangingPunct="1"/>
            <a:r>
              <a:rPr lang="en-US" dirty="0" err="1"/>
              <a:t>Numpy</a:t>
            </a:r>
            <a:endParaRPr lang="en-US" dirty="0"/>
          </a:p>
          <a:p>
            <a:pPr eaLnBrk="1" hangingPunct="1"/>
            <a:r>
              <a:rPr lang="en-US" dirty="0" err="1"/>
              <a:t>Geheugenprobleem</a:t>
            </a:r>
            <a:r>
              <a:rPr lang="en-US" dirty="0"/>
              <a:t> </a:t>
            </a:r>
            <a:r>
              <a:rPr lang="en-US" dirty="0" err="1"/>
              <a:t>als</a:t>
            </a:r>
            <a:r>
              <a:rPr lang="en-US" dirty="0"/>
              <a:t> </a:t>
            </a:r>
            <a:r>
              <a:rPr lang="en-US" dirty="0" err="1"/>
              <a:t>elke</a:t>
            </a:r>
            <a:r>
              <a:rPr lang="en-US" dirty="0"/>
              <a:t> Node </a:t>
            </a:r>
            <a:r>
              <a:rPr lang="en-US" dirty="0" err="1"/>
              <a:t>opgeslagen</a:t>
            </a:r>
            <a:r>
              <a:rPr lang="en-US" dirty="0"/>
              <a:t> </a:t>
            </a:r>
            <a:r>
              <a:rPr lang="en-US" dirty="0" err="1"/>
              <a:t>moet</a:t>
            </a:r>
            <a:r>
              <a:rPr lang="en-US" dirty="0"/>
              <a:t> </a:t>
            </a:r>
            <a:r>
              <a:rPr lang="en-US" dirty="0" err="1"/>
              <a:t>worden</a:t>
            </a:r>
            <a:endParaRPr lang="en-US" dirty="0"/>
          </a:p>
          <a:p>
            <a:pPr eaLnBrk="1" hangingPunct="1"/>
            <a:r>
              <a:rPr lang="en-US" dirty="0"/>
              <a:t>State space </a:t>
            </a:r>
            <a:r>
              <a:rPr lang="en-US" dirty="0" err="1"/>
              <a:t>verkleinen</a:t>
            </a:r>
            <a:r>
              <a:rPr lang="en-US" dirty="0"/>
              <a:t> &gt; in </a:t>
            </a:r>
            <a:r>
              <a:rPr lang="en-US" dirty="0" err="1"/>
              <a:t>aantal</a:t>
            </a:r>
            <a:r>
              <a:rPr lang="en-US" dirty="0"/>
              <a:t> </a:t>
            </a:r>
            <a:r>
              <a:rPr lang="en-US" dirty="0" err="1"/>
              <a:t>zetten</a:t>
            </a:r>
            <a:r>
              <a:rPr lang="en-US" dirty="0"/>
              <a:t> of nodes</a:t>
            </a:r>
          </a:p>
          <a:p>
            <a:pPr eaLnBrk="1" hangingPunct="1"/>
            <a:r>
              <a:rPr lang="en-US" dirty="0" err="1"/>
              <a:t>Random_move</a:t>
            </a:r>
            <a:r>
              <a:rPr lang="en-US" dirty="0"/>
              <a:t> </a:t>
            </a:r>
            <a:r>
              <a:rPr lang="en-US" dirty="0" err="1"/>
              <a:t>algoritme</a:t>
            </a:r>
            <a:endParaRPr lang="en-US" dirty="0"/>
          </a:p>
          <a:p>
            <a:pPr eaLnBrk="1" hangingPunct="1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558964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2849" name="Rectangle 7"/>
          <p:cNvSpPr>
            <a:spLocks noGrp="1" noChangeArrowheads="1"/>
          </p:cNvSpPr>
          <p:nvPr>
            <p:ph type="sldNum" sz="quarter" idx="5"/>
          </p:nvPr>
        </p:nvSpPr>
        <p:spPr>
          <a:xfrm>
            <a:off x="5995151" y="9738077"/>
            <a:ext cx="533614" cy="184666"/>
          </a:xfrm>
          <a:noFill/>
          <a:ln>
            <a:miter lim="800000"/>
            <a:headEnd/>
            <a:tailEnd/>
          </a:ln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727468B-38F6-4DC2-A767-D83AAE7DF58F}" type="slidenum">
              <a:rPr kumimoji="0" lang="en-GB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GB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charset="0"/>
            </a:endParaRPr>
          </a:p>
        </p:txBody>
      </p:sp>
      <p:sp>
        <p:nvSpPr>
          <p:cNvPr id="462850" name="doc id"/>
          <p:cNvSpPr>
            <a:spLocks noGrp="1" noChangeArrowheads="1"/>
          </p:cNvSpPr>
          <p:nvPr>
            <p:ph type="ftr" sz="quarter" idx="4"/>
          </p:nvPr>
        </p:nvSpPr>
        <p:spPr>
          <a:xfrm>
            <a:off x="5369793" y="114542"/>
            <a:ext cx="1158972" cy="123111"/>
          </a:xfrm>
          <a:noFill/>
          <a:ln>
            <a:miter lim="800000"/>
            <a:headEnd/>
            <a:tailEnd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charset="0"/>
              </a:rPr>
              <a:t>TOR-AAA123-20100608-</a:t>
            </a:r>
          </a:p>
        </p:txBody>
      </p:sp>
      <p:sp>
        <p:nvSpPr>
          <p:cNvPr id="462851" name="Rectangle 7"/>
          <p:cNvSpPr txBox="1">
            <a:spLocks noGrp="1" noChangeArrowheads="1"/>
          </p:cNvSpPr>
          <p:nvPr/>
        </p:nvSpPr>
        <p:spPr bwMode="auto">
          <a:xfrm>
            <a:off x="5995151" y="9738077"/>
            <a:ext cx="533614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b">
            <a:spAutoFit/>
          </a:bodyPr>
          <a:lstStyle/>
          <a:p>
            <a:pPr marL="0" marR="0" lvl="0" indent="0" algn="r" defTabSz="9119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A909CD1-55F8-4209-B9CE-C2FAB55DABA5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191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62852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-2932113" y="2398713"/>
            <a:ext cx="13250863" cy="7454900"/>
          </a:xfrm>
          <a:ln/>
        </p:spPr>
      </p:sp>
      <p:sp>
        <p:nvSpPr>
          <p:cNvPr id="462853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1301963" y="676134"/>
            <a:ext cx="4072094" cy="246221"/>
          </a:xfrm>
          <a:noFill/>
        </p:spPr>
        <p:txBody>
          <a:bodyPr/>
          <a:lstStyle/>
          <a:p>
            <a:pPr eaLnBrk="1" hangingPunct="1"/>
            <a:r>
              <a:rPr lang="en-US" dirty="0"/>
              <a:t>Bart +1 </a:t>
            </a:r>
            <a:r>
              <a:rPr lang="en-US" dirty="0" err="1"/>
              <a:t>voor</a:t>
            </a:r>
            <a:r>
              <a:rPr lang="en-US" dirty="0"/>
              <a:t> </a:t>
            </a:r>
            <a:r>
              <a:rPr lang="en-US" dirty="0" err="1"/>
              <a:t>presentatie</a:t>
            </a:r>
            <a:endParaRPr lang="en-US" dirty="0"/>
          </a:p>
          <a:p>
            <a:pPr eaLnBrk="1" hangingPunct="1"/>
            <a:r>
              <a:rPr lang="en-US" dirty="0" err="1"/>
              <a:t>Numpy</a:t>
            </a:r>
            <a:endParaRPr lang="en-US" dirty="0"/>
          </a:p>
          <a:p>
            <a:pPr eaLnBrk="1" hangingPunct="1"/>
            <a:r>
              <a:rPr lang="en-US" dirty="0" err="1"/>
              <a:t>Geheugenprobleem</a:t>
            </a:r>
            <a:r>
              <a:rPr lang="en-US" dirty="0"/>
              <a:t> </a:t>
            </a:r>
            <a:r>
              <a:rPr lang="en-US" dirty="0" err="1"/>
              <a:t>als</a:t>
            </a:r>
            <a:r>
              <a:rPr lang="en-US" dirty="0"/>
              <a:t> </a:t>
            </a:r>
            <a:r>
              <a:rPr lang="en-US" dirty="0" err="1"/>
              <a:t>elke</a:t>
            </a:r>
            <a:r>
              <a:rPr lang="en-US" dirty="0"/>
              <a:t> Node </a:t>
            </a:r>
            <a:r>
              <a:rPr lang="en-US" dirty="0" err="1"/>
              <a:t>opgeslagen</a:t>
            </a:r>
            <a:r>
              <a:rPr lang="en-US" dirty="0"/>
              <a:t> </a:t>
            </a:r>
            <a:r>
              <a:rPr lang="en-US" dirty="0" err="1"/>
              <a:t>moet</a:t>
            </a:r>
            <a:r>
              <a:rPr lang="en-US" dirty="0"/>
              <a:t> </a:t>
            </a:r>
            <a:r>
              <a:rPr lang="en-US" dirty="0" err="1"/>
              <a:t>worden</a:t>
            </a:r>
            <a:endParaRPr lang="en-US" dirty="0"/>
          </a:p>
          <a:p>
            <a:pPr eaLnBrk="1" hangingPunct="1"/>
            <a:r>
              <a:rPr lang="en-US" dirty="0"/>
              <a:t>State space </a:t>
            </a:r>
            <a:r>
              <a:rPr lang="en-US" dirty="0" err="1"/>
              <a:t>verkleinen</a:t>
            </a:r>
            <a:r>
              <a:rPr lang="en-US" dirty="0"/>
              <a:t> &gt; in </a:t>
            </a:r>
            <a:r>
              <a:rPr lang="en-US" dirty="0" err="1"/>
              <a:t>aantal</a:t>
            </a:r>
            <a:r>
              <a:rPr lang="en-US" dirty="0"/>
              <a:t> </a:t>
            </a:r>
            <a:r>
              <a:rPr lang="en-US" dirty="0" err="1"/>
              <a:t>zetten</a:t>
            </a:r>
            <a:r>
              <a:rPr lang="en-US" dirty="0"/>
              <a:t> of nodes</a:t>
            </a:r>
          </a:p>
          <a:p>
            <a:pPr eaLnBrk="1" hangingPunct="1"/>
            <a:r>
              <a:rPr lang="en-US" dirty="0" err="1"/>
              <a:t>Random_move</a:t>
            </a:r>
            <a:r>
              <a:rPr lang="en-US" dirty="0"/>
              <a:t> </a:t>
            </a:r>
            <a:r>
              <a:rPr lang="en-US" dirty="0" err="1"/>
              <a:t>algoritme</a:t>
            </a:r>
            <a:endParaRPr lang="en-US" dirty="0"/>
          </a:p>
          <a:p>
            <a:pPr eaLnBrk="1" hangingPunct="1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9163929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2849" name="Rectangle 7"/>
          <p:cNvSpPr>
            <a:spLocks noGrp="1" noChangeArrowheads="1"/>
          </p:cNvSpPr>
          <p:nvPr>
            <p:ph type="sldNum" sz="quarter" idx="5"/>
          </p:nvPr>
        </p:nvSpPr>
        <p:spPr>
          <a:xfrm>
            <a:off x="5995151" y="9738077"/>
            <a:ext cx="533614" cy="184666"/>
          </a:xfrm>
          <a:noFill/>
          <a:ln>
            <a:miter lim="800000"/>
            <a:headEnd/>
            <a:tailEnd/>
          </a:ln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727468B-38F6-4DC2-A767-D83AAE7DF58F}" type="slidenum">
              <a:rPr kumimoji="0" lang="en-GB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GB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charset="0"/>
            </a:endParaRPr>
          </a:p>
        </p:txBody>
      </p:sp>
      <p:sp>
        <p:nvSpPr>
          <p:cNvPr id="462850" name="doc id"/>
          <p:cNvSpPr>
            <a:spLocks noGrp="1" noChangeArrowheads="1"/>
          </p:cNvSpPr>
          <p:nvPr>
            <p:ph type="ftr" sz="quarter" idx="4"/>
          </p:nvPr>
        </p:nvSpPr>
        <p:spPr>
          <a:xfrm>
            <a:off x="5369793" y="114542"/>
            <a:ext cx="1158972" cy="123111"/>
          </a:xfrm>
          <a:noFill/>
          <a:ln>
            <a:miter lim="800000"/>
            <a:headEnd/>
            <a:tailEnd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charset="0"/>
              </a:rPr>
              <a:t>TOR-AAA123-20100608-</a:t>
            </a:r>
          </a:p>
        </p:txBody>
      </p:sp>
      <p:sp>
        <p:nvSpPr>
          <p:cNvPr id="462851" name="Rectangle 7"/>
          <p:cNvSpPr txBox="1">
            <a:spLocks noGrp="1" noChangeArrowheads="1"/>
          </p:cNvSpPr>
          <p:nvPr/>
        </p:nvSpPr>
        <p:spPr bwMode="auto">
          <a:xfrm>
            <a:off x="5995151" y="9738077"/>
            <a:ext cx="533614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b">
            <a:spAutoFit/>
          </a:bodyPr>
          <a:lstStyle/>
          <a:p>
            <a:pPr marL="0" marR="0" lvl="0" indent="0" algn="r" defTabSz="9119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A909CD1-55F8-4209-B9CE-C2FAB55DABA5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191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62852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-2932113" y="2398713"/>
            <a:ext cx="13250863" cy="7454900"/>
          </a:xfrm>
          <a:ln/>
        </p:spPr>
      </p:sp>
      <p:sp>
        <p:nvSpPr>
          <p:cNvPr id="462853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1301963" y="676134"/>
            <a:ext cx="4072094" cy="246221"/>
          </a:xfrm>
          <a:noFill/>
        </p:spPr>
        <p:txBody>
          <a:bodyPr/>
          <a:lstStyle/>
          <a:p>
            <a:pPr eaLnBrk="1" hangingPunct="1"/>
            <a:r>
              <a:rPr lang="en-US" dirty="0"/>
              <a:t>Bart +1 </a:t>
            </a:r>
            <a:r>
              <a:rPr lang="en-US" dirty="0" err="1"/>
              <a:t>voor</a:t>
            </a:r>
            <a:r>
              <a:rPr lang="en-US" dirty="0"/>
              <a:t> </a:t>
            </a:r>
            <a:r>
              <a:rPr lang="en-US" dirty="0" err="1"/>
              <a:t>presentatie</a:t>
            </a:r>
            <a:endParaRPr lang="en-US" dirty="0"/>
          </a:p>
          <a:p>
            <a:pPr eaLnBrk="1" hangingPunct="1"/>
            <a:r>
              <a:rPr lang="en-US" dirty="0" err="1"/>
              <a:t>Numpy</a:t>
            </a:r>
            <a:endParaRPr lang="en-US" dirty="0"/>
          </a:p>
          <a:p>
            <a:pPr eaLnBrk="1" hangingPunct="1"/>
            <a:r>
              <a:rPr lang="en-US" dirty="0" err="1"/>
              <a:t>Geheugenprobleem</a:t>
            </a:r>
            <a:r>
              <a:rPr lang="en-US" dirty="0"/>
              <a:t> </a:t>
            </a:r>
            <a:r>
              <a:rPr lang="en-US" dirty="0" err="1"/>
              <a:t>als</a:t>
            </a:r>
            <a:r>
              <a:rPr lang="en-US" dirty="0"/>
              <a:t> </a:t>
            </a:r>
            <a:r>
              <a:rPr lang="en-US" dirty="0" err="1"/>
              <a:t>elke</a:t>
            </a:r>
            <a:r>
              <a:rPr lang="en-US" dirty="0"/>
              <a:t> Node </a:t>
            </a:r>
            <a:r>
              <a:rPr lang="en-US" dirty="0" err="1"/>
              <a:t>opgeslagen</a:t>
            </a:r>
            <a:r>
              <a:rPr lang="en-US" dirty="0"/>
              <a:t> </a:t>
            </a:r>
            <a:r>
              <a:rPr lang="en-US" dirty="0" err="1"/>
              <a:t>moet</a:t>
            </a:r>
            <a:r>
              <a:rPr lang="en-US" dirty="0"/>
              <a:t> </a:t>
            </a:r>
            <a:r>
              <a:rPr lang="en-US" dirty="0" err="1"/>
              <a:t>worden</a:t>
            </a:r>
            <a:endParaRPr lang="en-US" dirty="0"/>
          </a:p>
          <a:p>
            <a:pPr eaLnBrk="1" hangingPunct="1"/>
            <a:r>
              <a:rPr lang="en-US" dirty="0"/>
              <a:t>State space </a:t>
            </a:r>
            <a:r>
              <a:rPr lang="en-US" dirty="0" err="1"/>
              <a:t>verkleinen</a:t>
            </a:r>
            <a:r>
              <a:rPr lang="en-US" dirty="0"/>
              <a:t> &gt; in </a:t>
            </a:r>
            <a:r>
              <a:rPr lang="en-US" dirty="0" err="1"/>
              <a:t>aantal</a:t>
            </a:r>
            <a:r>
              <a:rPr lang="en-US" dirty="0"/>
              <a:t> </a:t>
            </a:r>
            <a:r>
              <a:rPr lang="en-US" dirty="0" err="1"/>
              <a:t>zetten</a:t>
            </a:r>
            <a:r>
              <a:rPr lang="en-US" dirty="0"/>
              <a:t> of nodes</a:t>
            </a:r>
          </a:p>
          <a:p>
            <a:pPr eaLnBrk="1" hangingPunct="1"/>
            <a:r>
              <a:rPr lang="en-US" dirty="0" err="1"/>
              <a:t>Random_move</a:t>
            </a:r>
            <a:r>
              <a:rPr lang="en-US" dirty="0"/>
              <a:t> </a:t>
            </a:r>
            <a:r>
              <a:rPr lang="en-US" dirty="0" err="1"/>
              <a:t>algoritme</a:t>
            </a:r>
            <a:endParaRPr lang="en-US" dirty="0"/>
          </a:p>
          <a:p>
            <a:pPr eaLnBrk="1" hangingPunct="1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4161712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6225" name="Rectangle 7"/>
          <p:cNvSpPr>
            <a:spLocks noGrp="1" noChangeArrowheads="1"/>
          </p:cNvSpPr>
          <p:nvPr>
            <p:ph type="sldNum" sz="quarter" idx="5"/>
          </p:nvPr>
        </p:nvSpPr>
        <p:spPr>
          <a:xfrm>
            <a:off x="5995151" y="9738077"/>
            <a:ext cx="533614" cy="184666"/>
          </a:xfrm>
          <a:noFill/>
          <a:ln>
            <a:miter lim="800000"/>
            <a:headEnd/>
            <a:tailEnd/>
          </a:ln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02AF662-4A7B-4790-AA86-DA328320AAC4}" type="slidenum">
              <a:rPr kumimoji="0" lang="en-GB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en-GB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charset="0"/>
            </a:endParaRPr>
          </a:p>
        </p:txBody>
      </p:sp>
      <p:sp>
        <p:nvSpPr>
          <p:cNvPr id="436226" name="doc id"/>
          <p:cNvSpPr>
            <a:spLocks noGrp="1" noChangeArrowheads="1"/>
          </p:cNvSpPr>
          <p:nvPr>
            <p:ph type="ftr" sz="quarter" idx="4"/>
          </p:nvPr>
        </p:nvSpPr>
        <p:spPr>
          <a:xfrm>
            <a:off x="5369793" y="114542"/>
            <a:ext cx="1158972" cy="123111"/>
          </a:xfrm>
          <a:noFill/>
          <a:ln>
            <a:miter lim="800000"/>
            <a:headEnd/>
            <a:tailEnd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charset="0"/>
              </a:rPr>
              <a:t>TOR-AAA123-20100608-</a:t>
            </a:r>
          </a:p>
        </p:txBody>
      </p:sp>
      <p:sp>
        <p:nvSpPr>
          <p:cNvPr id="436227" name="Rectangle 7"/>
          <p:cNvSpPr txBox="1">
            <a:spLocks noGrp="1" noChangeArrowheads="1"/>
          </p:cNvSpPr>
          <p:nvPr/>
        </p:nvSpPr>
        <p:spPr bwMode="auto">
          <a:xfrm>
            <a:off x="5995151" y="9738077"/>
            <a:ext cx="533614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b">
            <a:spAutoFit/>
          </a:bodyPr>
          <a:lstStyle/>
          <a:p>
            <a:pPr marL="0" marR="0" lvl="0" indent="0" algn="r" defTabSz="9119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53EE1CE-C3F8-4C21-BE9E-6435FCBA3907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191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36228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-2932113" y="2398713"/>
            <a:ext cx="13250863" cy="7454900"/>
          </a:xfrm>
          <a:ln/>
        </p:spPr>
      </p:sp>
      <p:sp>
        <p:nvSpPr>
          <p:cNvPr id="436229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1301963" y="676134"/>
            <a:ext cx="4072094" cy="246221"/>
          </a:xfrm>
          <a:noFill/>
        </p:spPr>
        <p:txBody>
          <a:bodyPr/>
          <a:lstStyle/>
          <a:p>
            <a:pPr eaLnBrk="1" hangingPunct="1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505808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tags" Target="../tags/tag31.xml"/><Relationship Id="rId13" Type="http://schemas.openxmlformats.org/officeDocument/2006/relationships/image" Target="../media/image3.png"/><Relationship Id="rId3" Type="http://schemas.openxmlformats.org/officeDocument/2006/relationships/tags" Target="../tags/tag26.xml"/><Relationship Id="rId7" Type="http://schemas.openxmlformats.org/officeDocument/2006/relationships/tags" Target="../tags/tag30.xml"/><Relationship Id="rId12" Type="http://schemas.openxmlformats.org/officeDocument/2006/relationships/image" Target="../media/image2.emf"/><Relationship Id="rId2" Type="http://schemas.openxmlformats.org/officeDocument/2006/relationships/tags" Target="../tags/tag25.xml"/><Relationship Id="rId1" Type="http://schemas.openxmlformats.org/officeDocument/2006/relationships/vmlDrawing" Target="../drawings/vmlDrawing2.vml"/><Relationship Id="rId6" Type="http://schemas.openxmlformats.org/officeDocument/2006/relationships/tags" Target="../tags/tag29.xml"/><Relationship Id="rId11" Type="http://schemas.openxmlformats.org/officeDocument/2006/relationships/oleObject" Target="../embeddings/oleObject2.bin"/><Relationship Id="rId5" Type="http://schemas.openxmlformats.org/officeDocument/2006/relationships/tags" Target="../tags/tag28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27.xml"/><Relationship Id="rId9" Type="http://schemas.openxmlformats.org/officeDocument/2006/relationships/tags" Target="../tags/tag32.xml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tags" Target="../tags/tag103.xml"/><Relationship Id="rId13" Type="http://schemas.openxmlformats.org/officeDocument/2006/relationships/tags" Target="../tags/tag108.xml"/><Relationship Id="rId18" Type="http://schemas.openxmlformats.org/officeDocument/2006/relationships/image" Target="../media/image4.emf"/><Relationship Id="rId3" Type="http://schemas.openxmlformats.org/officeDocument/2006/relationships/tags" Target="../tags/tag98.xml"/><Relationship Id="rId7" Type="http://schemas.openxmlformats.org/officeDocument/2006/relationships/tags" Target="../tags/tag102.xml"/><Relationship Id="rId12" Type="http://schemas.openxmlformats.org/officeDocument/2006/relationships/tags" Target="../tags/tag107.xml"/><Relationship Id="rId17" Type="http://schemas.openxmlformats.org/officeDocument/2006/relationships/oleObject" Target="../embeddings/oleObject7.bin"/><Relationship Id="rId2" Type="http://schemas.openxmlformats.org/officeDocument/2006/relationships/tags" Target="../tags/tag97.xml"/><Relationship Id="rId16" Type="http://schemas.openxmlformats.org/officeDocument/2006/relationships/slideMaster" Target="../slideMasters/slideMaster1.xml"/><Relationship Id="rId1" Type="http://schemas.openxmlformats.org/officeDocument/2006/relationships/vmlDrawing" Target="../drawings/vmlDrawing7.vml"/><Relationship Id="rId6" Type="http://schemas.openxmlformats.org/officeDocument/2006/relationships/tags" Target="../tags/tag101.xml"/><Relationship Id="rId11" Type="http://schemas.openxmlformats.org/officeDocument/2006/relationships/tags" Target="../tags/tag106.xml"/><Relationship Id="rId5" Type="http://schemas.openxmlformats.org/officeDocument/2006/relationships/tags" Target="../tags/tag100.xml"/><Relationship Id="rId15" Type="http://schemas.openxmlformats.org/officeDocument/2006/relationships/tags" Target="../tags/tag110.xml"/><Relationship Id="rId10" Type="http://schemas.openxmlformats.org/officeDocument/2006/relationships/tags" Target="../tags/tag105.xml"/><Relationship Id="rId4" Type="http://schemas.openxmlformats.org/officeDocument/2006/relationships/tags" Target="../tags/tag99.xml"/><Relationship Id="rId9" Type="http://schemas.openxmlformats.org/officeDocument/2006/relationships/tags" Target="../tags/tag104.xml"/><Relationship Id="rId14" Type="http://schemas.openxmlformats.org/officeDocument/2006/relationships/tags" Target="../tags/tag109.xml"/></Relationships>
</file>

<file path=ppt/slideLayouts/_rels/slideLayout11.xml.rels><?xml version="1.0" encoding="UTF-8" standalone="yes"?>
<Relationships xmlns="http://schemas.openxmlformats.org/package/2006/relationships"><Relationship Id="rId8" Type="http://schemas.openxmlformats.org/officeDocument/2006/relationships/tags" Target="../tags/tag117.xml"/><Relationship Id="rId13" Type="http://schemas.openxmlformats.org/officeDocument/2006/relationships/tags" Target="../tags/tag122.xml"/><Relationship Id="rId3" Type="http://schemas.openxmlformats.org/officeDocument/2006/relationships/tags" Target="../tags/tag112.xml"/><Relationship Id="rId7" Type="http://schemas.openxmlformats.org/officeDocument/2006/relationships/tags" Target="../tags/tag116.xml"/><Relationship Id="rId12" Type="http://schemas.openxmlformats.org/officeDocument/2006/relationships/tags" Target="../tags/tag121.xml"/><Relationship Id="rId17" Type="http://schemas.openxmlformats.org/officeDocument/2006/relationships/image" Target="../media/image1.emf"/><Relationship Id="rId2" Type="http://schemas.openxmlformats.org/officeDocument/2006/relationships/tags" Target="../tags/tag111.xml"/><Relationship Id="rId16" Type="http://schemas.openxmlformats.org/officeDocument/2006/relationships/oleObject" Target="../embeddings/oleObject8.bin"/><Relationship Id="rId1" Type="http://schemas.openxmlformats.org/officeDocument/2006/relationships/vmlDrawing" Target="../drawings/vmlDrawing8.vml"/><Relationship Id="rId6" Type="http://schemas.openxmlformats.org/officeDocument/2006/relationships/tags" Target="../tags/tag115.xml"/><Relationship Id="rId11" Type="http://schemas.openxmlformats.org/officeDocument/2006/relationships/tags" Target="../tags/tag120.xml"/><Relationship Id="rId5" Type="http://schemas.openxmlformats.org/officeDocument/2006/relationships/tags" Target="../tags/tag114.xml"/><Relationship Id="rId15" Type="http://schemas.openxmlformats.org/officeDocument/2006/relationships/slideMaster" Target="../slideMasters/slideMaster1.xml"/><Relationship Id="rId10" Type="http://schemas.openxmlformats.org/officeDocument/2006/relationships/tags" Target="../tags/tag119.xml"/><Relationship Id="rId4" Type="http://schemas.openxmlformats.org/officeDocument/2006/relationships/tags" Target="../tags/tag113.xml"/><Relationship Id="rId9" Type="http://schemas.openxmlformats.org/officeDocument/2006/relationships/tags" Target="../tags/tag118.xml"/><Relationship Id="rId14" Type="http://schemas.openxmlformats.org/officeDocument/2006/relationships/tags" Target="../tags/tag123.xml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126.xml"/><Relationship Id="rId7" Type="http://schemas.openxmlformats.org/officeDocument/2006/relationships/tags" Target="../tags/tag130.xml"/><Relationship Id="rId2" Type="http://schemas.openxmlformats.org/officeDocument/2006/relationships/tags" Target="../tags/tag125.xml"/><Relationship Id="rId1" Type="http://schemas.openxmlformats.org/officeDocument/2006/relationships/tags" Target="../tags/tag124.xml"/><Relationship Id="rId6" Type="http://schemas.openxmlformats.org/officeDocument/2006/relationships/tags" Target="../tags/tag129.xml"/><Relationship Id="rId5" Type="http://schemas.openxmlformats.org/officeDocument/2006/relationships/tags" Target="../tags/tag128.xml"/><Relationship Id="rId4" Type="http://schemas.openxmlformats.org/officeDocument/2006/relationships/tags" Target="../tags/tag127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133.xml"/><Relationship Id="rId2" Type="http://schemas.openxmlformats.org/officeDocument/2006/relationships/tags" Target="../tags/tag132.xml"/><Relationship Id="rId1" Type="http://schemas.openxmlformats.org/officeDocument/2006/relationships/tags" Target="../tags/tag131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34.xml"/></Relationships>
</file>

<file path=ppt/slideLayouts/_rels/slideLayout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tags" Target="../tags/tag136.xml"/><Relationship Id="rId7" Type="http://schemas.openxmlformats.org/officeDocument/2006/relationships/image" Target="../media/image2.emf"/><Relationship Id="rId2" Type="http://schemas.openxmlformats.org/officeDocument/2006/relationships/tags" Target="../tags/tag135.xml"/><Relationship Id="rId1" Type="http://schemas.openxmlformats.org/officeDocument/2006/relationships/vmlDrawing" Target="../drawings/vmlDrawing9.vml"/><Relationship Id="rId6" Type="http://schemas.openxmlformats.org/officeDocument/2006/relationships/oleObject" Target="../embeddings/oleObject9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37.xml"/></Relationships>
</file>

<file path=ppt/slideLayouts/_rels/slideLayout15.xml.rels><?xml version="1.0" encoding="UTF-8" standalone="yes"?>
<Relationships xmlns="http://schemas.openxmlformats.org/package/2006/relationships"><Relationship Id="rId8" Type="http://schemas.openxmlformats.org/officeDocument/2006/relationships/tags" Target="../tags/tag167.xml"/><Relationship Id="rId13" Type="http://schemas.openxmlformats.org/officeDocument/2006/relationships/image" Target="../media/image2.emf"/><Relationship Id="rId3" Type="http://schemas.openxmlformats.org/officeDocument/2006/relationships/tags" Target="../tags/tag162.xml"/><Relationship Id="rId7" Type="http://schemas.openxmlformats.org/officeDocument/2006/relationships/tags" Target="../tags/tag166.xml"/><Relationship Id="rId12" Type="http://schemas.openxmlformats.org/officeDocument/2006/relationships/oleObject" Target="../embeddings/oleObject11.bin"/><Relationship Id="rId2" Type="http://schemas.openxmlformats.org/officeDocument/2006/relationships/tags" Target="../tags/tag161.xml"/><Relationship Id="rId1" Type="http://schemas.openxmlformats.org/officeDocument/2006/relationships/vmlDrawing" Target="../drawings/vmlDrawing11.vml"/><Relationship Id="rId6" Type="http://schemas.openxmlformats.org/officeDocument/2006/relationships/tags" Target="../tags/tag165.xml"/><Relationship Id="rId11" Type="http://schemas.openxmlformats.org/officeDocument/2006/relationships/image" Target="../media/image6.png"/><Relationship Id="rId5" Type="http://schemas.openxmlformats.org/officeDocument/2006/relationships/tags" Target="../tags/tag164.xml"/><Relationship Id="rId10" Type="http://schemas.openxmlformats.org/officeDocument/2006/relationships/slideMaster" Target="../slideMasters/slideMaster2.xml"/><Relationship Id="rId4" Type="http://schemas.openxmlformats.org/officeDocument/2006/relationships/tags" Target="../tags/tag163.xml"/><Relationship Id="rId9" Type="http://schemas.openxmlformats.org/officeDocument/2006/relationships/tags" Target="../tags/tag168.xml"/><Relationship Id="rId14" Type="http://schemas.openxmlformats.org/officeDocument/2006/relationships/image" Target="../media/image3.png"/></Relationships>
</file>

<file path=ppt/slideLayouts/_rels/slideLayout16.xml.rels><?xml version="1.0" encoding="UTF-8" standalone="yes"?>
<Relationships xmlns="http://schemas.openxmlformats.org/package/2006/relationships"><Relationship Id="rId8" Type="http://schemas.openxmlformats.org/officeDocument/2006/relationships/tags" Target="../tags/tag175.xml"/><Relationship Id="rId3" Type="http://schemas.openxmlformats.org/officeDocument/2006/relationships/tags" Target="../tags/tag170.xml"/><Relationship Id="rId7" Type="http://schemas.openxmlformats.org/officeDocument/2006/relationships/tags" Target="../tags/tag174.xml"/><Relationship Id="rId2" Type="http://schemas.openxmlformats.org/officeDocument/2006/relationships/tags" Target="../tags/tag169.xml"/><Relationship Id="rId1" Type="http://schemas.openxmlformats.org/officeDocument/2006/relationships/vmlDrawing" Target="../drawings/vmlDrawing12.vml"/><Relationship Id="rId6" Type="http://schemas.openxmlformats.org/officeDocument/2006/relationships/tags" Target="../tags/tag173.xml"/><Relationship Id="rId11" Type="http://schemas.openxmlformats.org/officeDocument/2006/relationships/image" Target="../media/image1.emf"/><Relationship Id="rId5" Type="http://schemas.openxmlformats.org/officeDocument/2006/relationships/tags" Target="../tags/tag172.xml"/><Relationship Id="rId10" Type="http://schemas.openxmlformats.org/officeDocument/2006/relationships/oleObject" Target="../embeddings/oleObject12.bin"/><Relationship Id="rId4" Type="http://schemas.openxmlformats.org/officeDocument/2006/relationships/tags" Target="../tags/tag171.xml"/><Relationship Id="rId9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178.xml"/><Relationship Id="rId2" Type="http://schemas.openxmlformats.org/officeDocument/2006/relationships/tags" Target="../tags/tag177.xml"/><Relationship Id="rId1" Type="http://schemas.openxmlformats.org/officeDocument/2006/relationships/tags" Target="../tags/tag176.xml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179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182.xml"/><Relationship Id="rId2" Type="http://schemas.openxmlformats.org/officeDocument/2006/relationships/tags" Target="../tags/tag181.xml"/><Relationship Id="rId1" Type="http://schemas.openxmlformats.org/officeDocument/2006/relationships/tags" Target="../tags/tag180.xml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183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tags" Target="../tags/tag186.xml"/><Relationship Id="rId2" Type="http://schemas.openxmlformats.org/officeDocument/2006/relationships/tags" Target="../tags/tag185.xml"/><Relationship Id="rId1" Type="http://schemas.openxmlformats.org/officeDocument/2006/relationships/tags" Target="../tags/tag184.xml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187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tags" Target="../tags/tag39.xml"/><Relationship Id="rId3" Type="http://schemas.openxmlformats.org/officeDocument/2006/relationships/tags" Target="../tags/tag34.xml"/><Relationship Id="rId7" Type="http://schemas.openxmlformats.org/officeDocument/2006/relationships/tags" Target="../tags/tag38.xml"/><Relationship Id="rId2" Type="http://schemas.openxmlformats.org/officeDocument/2006/relationships/tags" Target="../tags/tag33.xml"/><Relationship Id="rId1" Type="http://schemas.openxmlformats.org/officeDocument/2006/relationships/vmlDrawing" Target="../drawings/vmlDrawing3.vml"/><Relationship Id="rId6" Type="http://schemas.openxmlformats.org/officeDocument/2006/relationships/tags" Target="../tags/tag37.xml"/><Relationship Id="rId11" Type="http://schemas.openxmlformats.org/officeDocument/2006/relationships/image" Target="../media/image1.emf"/><Relationship Id="rId5" Type="http://schemas.openxmlformats.org/officeDocument/2006/relationships/tags" Target="../tags/tag36.xml"/><Relationship Id="rId10" Type="http://schemas.openxmlformats.org/officeDocument/2006/relationships/oleObject" Target="../embeddings/oleObject3.bin"/><Relationship Id="rId4" Type="http://schemas.openxmlformats.org/officeDocument/2006/relationships/tags" Target="../tags/tag35.xml"/><Relationship Id="rId9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tags" Target="../tags/tag190.xml"/><Relationship Id="rId2" Type="http://schemas.openxmlformats.org/officeDocument/2006/relationships/tags" Target="../tags/tag189.xml"/><Relationship Id="rId1" Type="http://schemas.openxmlformats.org/officeDocument/2006/relationships/tags" Target="../tags/tag188.x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192.xml"/><Relationship Id="rId4" Type="http://schemas.openxmlformats.org/officeDocument/2006/relationships/tags" Target="../tags/tag191.xml"/></Relationships>
</file>

<file path=ppt/slideLayouts/_rels/slideLayout21.xml.rels><?xml version="1.0" encoding="UTF-8" standalone="yes"?>
<Relationships xmlns="http://schemas.openxmlformats.org/package/2006/relationships"><Relationship Id="rId8" Type="http://schemas.openxmlformats.org/officeDocument/2006/relationships/tags" Target="../tags/tag199.xml"/><Relationship Id="rId13" Type="http://schemas.openxmlformats.org/officeDocument/2006/relationships/tags" Target="../tags/tag204.xml"/><Relationship Id="rId3" Type="http://schemas.openxmlformats.org/officeDocument/2006/relationships/tags" Target="../tags/tag194.xml"/><Relationship Id="rId7" Type="http://schemas.openxmlformats.org/officeDocument/2006/relationships/tags" Target="../tags/tag198.xml"/><Relationship Id="rId12" Type="http://schemas.openxmlformats.org/officeDocument/2006/relationships/tags" Target="../tags/tag203.xml"/><Relationship Id="rId17" Type="http://schemas.openxmlformats.org/officeDocument/2006/relationships/image" Target="../media/image1.emf"/><Relationship Id="rId2" Type="http://schemas.openxmlformats.org/officeDocument/2006/relationships/tags" Target="../tags/tag193.xml"/><Relationship Id="rId16" Type="http://schemas.openxmlformats.org/officeDocument/2006/relationships/oleObject" Target="../embeddings/oleObject13.bin"/><Relationship Id="rId1" Type="http://schemas.openxmlformats.org/officeDocument/2006/relationships/vmlDrawing" Target="../drawings/vmlDrawing13.vml"/><Relationship Id="rId6" Type="http://schemas.openxmlformats.org/officeDocument/2006/relationships/tags" Target="../tags/tag197.xml"/><Relationship Id="rId11" Type="http://schemas.openxmlformats.org/officeDocument/2006/relationships/tags" Target="../tags/tag202.xml"/><Relationship Id="rId5" Type="http://schemas.openxmlformats.org/officeDocument/2006/relationships/tags" Target="../tags/tag196.xml"/><Relationship Id="rId15" Type="http://schemas.openxmlformats.org/officeDocument/2006/relationships/slideMaster" Target="../slideMasters/slideMaster2.xml"/><Relationship Id="rId10" Type="http://schemas.openxmlformats.org/officeDocument/2006/relationships/tags" Target="../tags/tag201.xml"/><Relationship Id="rId4" Type="http://schemas.openxmlformats.org/officeDocument/2006/relationships/tags" Target="../tags/tag195.xml"/><Relationship Id="rId9" Type="http://schemas.openxmlformats.org/officeDocument/2006/relationships/tags" Target="../tags/tag200.xml"/><Relationship Id="rId14" Type="http://schemas.openxmlformats.org/officeDocument/2006/relationships/tags" Target="../tags/tag205.xml"/></Relationships>
</file>

<file path=ppt/slideLayouts/_rels/slideLayout22.xml.rels><?xml version="1.0" encoding="UTF-8" standalone="yes"?>
<Relationships xmlns="http://schemas.openxmlformats.org/package/2006/relationships"><Relationship Id="rId8" Type="http://schemas.openxmlformats.org/officeDocument/2006/relationships/tags" Target="../tags/tag212.xml"/><Relationship Id="rId13" Type="http://schemas.openxmlformats.org/officeDocument/2006/relationships/tags" Target="../tags/tag217.xml"/><Relationship Id="rId3" Type="http://schemas.openxmlformats.org/officeDocument/2006/relationships/tags" Target="../tags/tag207.xml"/><Relationship Id="rId7" Type="http://schemas.openxmlformats.org/officeDocument/2006/relationships/tags" Target="../tags/tag211.xml"/><Relationship Id="rId12" Type="http://schemas.openxmlformats.org/officeDocument/2006/relationships/tags" Target="../tags/tag216.xml"/><Relationship Id="rId17" Type="http://schemas.openxmlformats.org/officeDocument/2006/relationships/image" Target="../media/image1.emf"/><Relationship Id="rId2" Type="http://schemas.openxmlformats.org/officeDocument/2006/relationships/tags" Target="../tags/tag206.xml"/><Relationship Id="rId16" Type="http://schemas.openxmlformats.org/officeDocument/2006/relationships/oleObject" Target="../embeddings/oleObject14.bin"/><Relationship Id="rId1" Type="http://schemas.openxmlformats.org/officeDocument/2006/relationships/vmlDrawing" Target="../drawings/vmlDrawing14.vml"/><Relationship Id="rId6" Type="http://schemas.openxmlformats.org/officeDocument/2006/relationships/tags" Target="../tags/tag210.xml"/><Relationship Id="rId11" Type="http://schemas.openxmlformats.org/officeDocument/2006/relationships/tags" Target="../tags/tag215.xml"/><Relationship Id="rId5" Type="http://schemas.openxmlformats.org/officeDocument/2006/relationships/tags" Target="../tags/tag209.xml"/><Relationship Id="rId15" Type="http://schemas.openxmlformats.org/officeDocument/2006/relationships/slideMaster" Target="../slideMasters/slideMaster2.xml"/><Relationship Id="rId10" Type="http://schemas.openxmlformats.org/officeDocument/2006/relationships/tags" Target="../tags/tag214.xml"/><Relationship Id="rId4" Type="http://schemas.openxmlformats.org/officeDocument/2006/relationships/tags" Target="../tags/tag208.xml"/><Relationship Id="rId9" Type="http://schemas.openxmlformats.org/officeDocument/2006/relationships/tags" Target="../tags/tag213.xml"/><Relationship Id="rId14" Type="http://schemas.openxmlformats.org/officeDocument/2006/relationships/tags" Target="../tags/tag218.xml"/></Relationships>
</file>

<file path=ppt/slideLayouts/_rels/slideLayout23.xml.rels><?xml version="1.0" encoding="UTF-8" standalone="yes"?>
<Relationships xmlns="http://schemas.openxmlformats.org/package/2006/relationships"><Relationship Id="rId8" Type="http://schemas.openxmlformats.org/officeDocument/2006/relationships/tags" Target="../tags/tag226.xml"/><Relationship Id="rId3" Type="http://schemas.openxmlformats.org/officeDocument/2006/relationships/tags" Target="../tags/tag221.xml"/><Relationship Id="rId7" Type="http://schemas.openxmlformats.org/officeDocument/2006/relationships/tags" Target="../tags/tag225.xml"/><Relationship Id="rId12" Type="http://schemas.openxmlformats.org/officeDocument/2006/relationships/slideMaster" Target="../slideMasters/slideMaster2.xml"/><Relationship Id="rId2" Type="http://schemas.openxmlformats.org/officeDocument/2006/relationships/tags" Target="../tags/tag220.xml"/><Relationship Id="rId1" Type="http://schemas.openxmlformats.org/officeDocument/2006/relationships/tags" Target="../tags/tag219.xml"/><Relationship Id="rId6" Type="http://schemas.openxmlformats.org/officeDocument/2006/relationships/tags" Target="../tags/tag224.xml"/><Relationship Id="rId11" Type="http://schemas.openxmlformats.org/officeDocument/2006/relationships/tags" Target="../tags/tag229.xml"/><Relationship Id="rId5" Type="http://schemas.openxmlformats.org/officeDocument/2006/relationships/tags" Target="../tags/tag223.xml"/><Relationship Id="rId10" Type="http://schemas.openxmlformats.org/officeDocument/2006/relationships/tags" Target="../tags/tag228.xml"/><Relationship Id="rId4" Type="http://schemas.openxmlformats.org/officeDocument/2006/relationships/tags" Target="../tags/tag222.xml"/><Relationship Id="rId9" Type="http://schemas.openxmlformats.org/officeDocument/2006/relationships/tags" Target="../tags/tag227.xml"/></Relationships>
</file>

<file path=ppt/slideLayouts/_rels/slideLayout24.xml.rels><?xml version="1.0" encoding="UTF-8" standalone="yes"?>
<Relationships xmlns="http://schemas.openxmlformats.org/package/2006/relationships"><Relationship Id="rId8" Type="http://schemas.openxmlformats.org/officeDocument/2006/relationships/tags" Target="../tags/tag236.xml"/><Relationship Id="rId13" Type="http://schemas.openxmlformats.org/officeDocument/2006/relationships/tags" Target="../tags/tag241.xml"/><Relationship Id="rId3" Type="http://schemas.openxmlformats.org/officeDocument/2006/relationships/tags" Target="../tags/tag231.xml"/><Relationship Id="rId7" Type="http://schemas.openxmlformats.org/officeDocument/2006/relationships/tags" Target="../tags/tag235.xml"/><Relationship Id="rId12" Type="http://schemas.openxmlformats.org/officeDocument/2006/relationships/tags" Target="../tags/tag240.xml"/><Relationship Id="rId17" Type="http://schemas.openxmlformats.org/officeDocument/2006/relationships/image" Target="../media/image1.emf"/><Relationship Id="rId2" Type="http://schemas.openxmlformats.org/officeDocument/2006/relationships/tags" Target="../tags/tag230.xml"/><Relationship Id="rId16" Type="http://schemas.openxmlformats.org/officeDocument/2006/relationships/oleObject" Target="../embeddings/oleObject15.bin"/><Relationship Id="rId1" Type="http://schemas.openxmlformats.org/officeDocument/2006/relationships/vmlDrawing" Target="../drawings/vmlDrawing15.vml"/><Relationship Id="rId6" Type="http://schemas.openxmlformats.org/officeDocument/2006/relationships/tags" Target="../tags/tag234.xml"/><Relationship Id="rId11" Type="http://schemas.openxmlformats.org/officeDocument/2006/relationships/tags" Target="../tags/tag239.xml"/><Relationship Id="rId5" Type="http://schemas.openxmlformats.org/officeDocument/2006/relationships/tags" Target="../tags/tag233.xml"/><Relationship Id="rId15" Type="http://schemas.openxmlformats.org/officeDocument/2006/relationships/slideMaster" Target="../slideMasters/slideMaster2.xml"/><Relationship Id="rId10" Type="http://schemas.openxmlformats.org/officeDocument/2006/relationships/tags" Target="../tags/tag238.xml"/><Relationship Id="rId4" Type="http://schemas.openxmlformats.org/officeDocument/2006/relationships/tags" Target="../tags/tag232.xml"/><Relationship Id="rId9" Type="http://schemas.openxmlformats.org/officeDocument/2006/relationships/tags" Target="../tags/tag237.xml"/><Relationship Id="rId14" Type="http://schemas.openxmlformats.org/officeDocument/2006/relationships/tags" Target="../tags/tag242.xml"/></Relationships>
</file>

<file path=ppt/slideLayouts/_rels/slideLayout25.xml.rels><?xml version="1.0" encoding="UTF-8" standalone="yes"?>
<Relationships xmlns="http://schemas.openxmlformats.org/package/2006/relationships"><Relationship Id="rId8" Type="http://schemas.openxmlformats.org/officeDocument/2006/relationships/tags" Target="../tags/tag249.xml"/><Relationship Id="rId13" Type="http://schemas.openxmlformats.org/officeDocument/2006/relationships/tags" Target="../tags/tag254.xml"/><Relationship Id="rId3" Type="http://schemas.openxmlformats.org/officeDocument/2006/relationships/tags" Target="../tags/tag244.xml"/><Relationship Id="rId7" Type="http://schemas.openxmlformats.org/officeDocument/2006/relationships/tags" Target="../tags/tag248.xml"/><Relationship Id="rId12" Type="http://schemas.openxmlformats.org/officeDocument/2006/relationships/tags" Target="../tags/tag253.xml"/><Relationship Id="rId17" Type="http://schemas.openxmlformats.org/officeDocument/2006/relationships/image" Target="../media/image7.emf"/><Relationship Id="rId2" Type="http://schemas.openxmlformats.org/officeDocument/2006/relationships/tags" Target="../tags/tag243.xml"/><Relationship Id="rId16" Type="http://schemas.openxmlformats.org/officeDocument/2006/relationships/oleObject" Target="../embeddings/oleObject16.bin"/><Relationship Id="rId1" Type="http://schemas.openxmlformats.org/officeDocument/2006/relationships/vmlDrawing" Target="../drawings/vmlDrawing16.vml"/><Relationship Id="rId6" Type="http://schemas.openxmlformats.org/officeDocument/2006/relationships/tags" Target="../tags/tag247.xml"/><Relationship Id="rId11" Type="http://schemas.openxmlformats.org/officeDocument/2006/relationships/tags" Target="../tags/tag252.xml"/><Relationship Id="rId5" Type="http://schemas.openxmlformats.org/officeDocument/2006/relationships/tags" Target="../tags/tag246.xml"/><Relationship Id="rId15" Type="http://schemas.openxmlformats.org/officeDocument/2006/relationships/slideMaster" Target="../slideMasters/slideMaster2.xml"/><Relationship Id="rId10" Type="http://schemas.openxmlformats.org/officeDocument/2006/relationships/tags" Target="../tags/tag251.xml"/><Relationship Id="rId4" Type="http://schemas.openxmlformats.org/officeDocument/2006/relationships/tags" Target="../tags/tag245.xml"/><Relationship Id="rId9" Type="http://schemas.openxmlformats.org/officeDocument/2006/relationships/tags" Target="../tags/tag250.xml"/><Relationship Id="rId14" Type="http://schemas.openxmlformats.org/officeDocument/2006/relationships/tags" Target="../tags/tag255.xml"/></Relationships>
</file>

<file path=ppt/slideLayouts/_rels/slideLayout26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258.xml"/><Relationship Id="rId7" Type="http://schemas.openxmlformats.org/officeDocument/2006/relationships/tags" Target="../tags/tag262.xml"/><Relationship Id="rId2" Type="http://schemas.openxmlformats.org/officeDocument/2006/relationships/tags" Target="../tags/tag257.xml"/><Relationship Id="rId1" Type="http://schemas.openxmlformats.org/officeDocument/2006/relationships/tags" Target="../tags/tag256.xml"/><Relationship Id="rId6" Type="http://schemas.openxmlformats.org/officeDocument/2006/relationships/tags" Target="../tags/tag261.xml"/><Relationship Id="rId5" Type="http://schemas.openxmlformats.org/officeDocument/2006/relationships/tags" Target="../tags/tag260.xml"/><Relationship Id="rId4" Type="http://schemas.openxmlformats.org/officeDocument/2006/relationships/tags" Target="../tags/tag259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tags" Target="../tags/tag265.xml"/><Relationship Id="rId2" Type="http://schemas.openxmlformats.org/officeDocument/2006/relationships/tags" Target="../tags/tag264.xml"/><Relationship Id="rId1" Type="http://schemas.openxmlformats.org/officeDocument/2006/relationships/tags" Target="../tags/tag263.xml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266.xml"/></Relationships>
</file>

<file path=ppt/slideLayouts/_rels/slideLayout2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268.xml"/><Relationship Id="rId7" Type="http://schemas.openxmlformats.org/officeDocument/2006/relationships/oleObject" Target="../embeddings/oleObject17.bin"/><Relationship Id="rId2" Type="http://schemas.openxmlformats.org/officeDocument/2006/relationships/tags" Target="../tags/tag267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6.png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269.xml"/><Relationship Id="rId9" Type="http://schemas.openxmlformats.org/officeDocument/2006/relationships/image" Target="../media/image5.pn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42.xml"/><Relationship Id="rId2" Type="http://schemas.openxmlformats.org/officeDocument/2006/relationships/tags" Target="../tags/tag41.xml"/><Relationship Id="rId1" Type="http://schemas.openxmlformats.org/officeDocument/2006/relationships/tags" Target="../tags/tag40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43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46.xml"/><Relationship Id="rId2" Type="http://schemas.openxmlformats.org/officeDocument/2006/relationships/tags" Target="../tags/tag45.xml"/><Relationship Id="rId1" Type="http://schemas.openxmlformats.org/officeDocument/2006/relationships/tags" Target="../tags/tag44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47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50.xml"/><Relationship Id="rId2" Type="http://schemas.openxmlformats.org/officeDocument/2006/relationships/tags" Target="../tags/tag49.xml"/><Relationship Id="rId1" Type="http://schemas.openxmlformats.org/officeDocument/2006/relationships/tags" Target="../tags/tag48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5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tags" Target="../tags/tag54.xml"/><Relationship Id="rId2" Type="http://schemas.openxmlformats.org/officeDocument/2006/relationships/tags" Target="../tags/tag53.xml"/><Relationship Id="rId1" Type="http://schemas.openxmlformats.org/officeDocument/2006/relationships/tags" Target="../tags/tag52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56.xml"/><Relationship Id="rId4" Type="http://schemas.openxmlformats.org/officeDocument/2006/relationships/tags" Target="../tags/tag55.xml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tags" Target="../tags/tag63.xml"/><Relationship Id="rId13" Type="http://schemas.openxmlformats.org/officeDocument/2006/relationships/tags" Target="../tags/tag68.xml"/><Relationship Id="rId3" Type="http://schemas.openxmlformats.org/officeDocument/2006/relationships/tags" Target="../tags/tag58.xml"/><Relationship Id="rId7" Type="http://schemas.openxmlformats.org/officeDocument/2006/relationships/tags" Target="../tags/tag62.xml"/><Relationship Id="rId12" Type="http://schemas.openxmlformats.org/officeDocument/2006/relationships/tags" Target="../tags/tag67.xml"/><Relationship Id="rId17" Type="http://schemas.openxmlformats.org/officeDocument/2006/relationships/image" Target="../media/image1.emf"/><Relationship Id="rId2" Type="http://schemas.openxmlformats.org/officeDocument/2006/relationships/tags" Target="../tags/tag57.xml"/><Relationship Id="rId16" Type="http://schemas.openxmlformats.org/officeDocument/2006/relationships/oleObject" Target="../embeddings/oleObject4.bin"/><Relationship Id="rId1" Type="http://schemas.openxmlformats.org/officeDocument/2006/relationships/vmlDrawing" Target="../drawings/vmlDrawing4.vml"/><Relationship Id="rId6" Type="http://schemas.openxmlformats.org/officeDocument/2006/relationships/tags" Target="../tags/tag61.xml"/><Relationship Id="rId11" Type="http://schemas.openxmlformats.org/officeDocument/2006/relationships/tags" Target="../tags/tag66.xml"/><Relationship Id="rId5" Type="http://schemas.openxmlformats.org/officeDocument/2006/relationships/tags" Target="../tags/tag60.xml"/><Relationship Id="rId15" Type="http://schemas.openxmlformats.org/officeDocument/2006/relationships/slideMaster" Target="../slideMasters/slideMaster1.xml"/><Relationship Id="rId10" Type="http://schemas.openxmlformats.org/officeDocument/2006/relationships/tags" Target="../tags/tag65.xml"/><Relationship Id="rId4" Type="http://schemas.openxmlformats.org/officeDocument/2006/relationships/tags" Target="../tags/tag59.xml"/><Relationship Id="rId9" Type="http://schemas.openxmlformats.org/officeDocument/2006/relationships/tags" Target="../tags/tag64.xml"/><Relationship Id="rId14" Type="http://schemas.openxmlformats.org/officeDocument/2006/relationships/tags" Target="../tags/tag69.xml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tags" Target="../tags/tag76.xml"/><Relationship Id="rId13" Type="http://schemas.openxmlformats.org/officeDocument/2006/relationships/tags" Target="../tags/tag81.xml"/><Relationship Id="rId3" Type="http://schemas.openxmlformats.org/officeDocument/2006/relationships/tags" Target="../tags/tag71.xml"/><Relationship Id="rId7" Type="http://schemas.openxmlformats.org/officeDocument/2006/relationships/tags" Target="../tags/tag75.xml"/><Relationship Id="rId12" Type="http://schemas.openxmlformats.org/officeDocument/2006/relationships/tags" Target="../tags/tag80.xml"/><Relationship Id="rId17" Type="http://schemas.openxmlformats.org/officeDocument/2006/relationships/image" Target="../media/image1.emf"/><Relationship Id="rId2" Type="http://schemas.openxmlformats.org/officeDocument/2006/relationships/tags" Target="../tags/tag70.xml"/><Relationship Id="rId16" Type="http://schemas.openxmlformats.org/officeDocument/2006/relationships/oleObject" Target="../embeddings/oleObject5.bin"/><Relationship Id="rId1" Type="http://schemas.openxmlformats.org/officeDocument/2006/relationships/vmlDrawing" Target="../drawings/vmlDrawing5.vml"/><Relationship Id="rId6" Type="http://schemas.openxmlformats.org/officeDocument/2006/relationships/tags" Target="../tags/tag74.xml"/><Relationship Id="rId11" Type="http://schemas.openxmlformats.org/officeDocument/2006/relationships/tags" Target="../tags/tag79.xml"/><Relationship Id="rId5" Type="http://schemas.openxmlformats.org/officeDocument/2006/relationships/tags" Target="../tags/tag73.xml"/><Relationship Id="rId15" Type="http://schemas.openxmlformats.org/officeDocument/2006/relationships/slideMaster" Target="../slideMasters/slideMaster1.xml"/><Relationship Id="rId10" Type="http://schemas.openxmlformats.org/officeDocument/2006/relationships/tags" Target="../tags/tag78.xml"/><Relationship Id="rId4" Type="http://schemas.openxmlformats.org/officeDocument/2006/relationships/tags" Target="../tags/tag72.xml"/><Relationship Id="rId9" Type="http://schemas.openxmlformats.org/officeDocument/2006/relationships/tags" Target="../tags/tag77.xml"/><Relationship Id="rId14" Type="http://schemas.openxmlformats.org/officeDocument/2006/relationships/tags" Target="../tags/tag82.xml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tags" Target="../tags/tag89.xml"/><Relationship Id="rId13" Type="http://schemas.openxmlformats.org/officeDocument/2006/relationships/tags" Target="../tags/tag94.xml"/><Relationship Id="rId18" Type="http://schemas.openxmlformats.org/officeDocument/2006/relationships/image" Target="../media/image1.emf"/><Relationship Id="rId3" Type="http://schemas.openxmlformats.org/officeDocument/2006/relationships/tags" Target="../tags/tag84.xml"/><Relationship Id="rId7" Type="http://schemas.openxmlformats.org/officeDocument/2006/relationships/tags" Target="../tags/tag88.xml"/><Relationship Id="rId12" Type="http://schemas.openxmlformats.org/officeDocument/2006/relationships/tags" Target="../tags/tag93.xml"/><Relationship Id="rId17" Type="http://schemas.openxmlformats.org/officeDocument/2006/relationships/oleObject" Target="../embeddings/oleObject6.bin"/><Relationship Id="rId2" Type="http://schemas.openxmlformats.org/officeDocument/2006/relationships/tags" Target="../tags/tag83.xml"/><Relationship Id="rId16" Type="http://schemas.openxmlformats.org/officeDocument/2006/relationships/slideMaster" Target="../slideMasters/slideMaster1.xml"/><Relationship Id="rId1" Type="http://schemas.openxmlformats.org/officeDocument/2006/relationships/vmlDrawing" Target="../drawings/vmlDrawing6.vml"/><Relationship Id="rId6" Type="http://schemas.openxmlformats.org/officeDocument/2006/relationships/tags" Target="../tags/tag87.xml"/><Relationship Id="rId11" Type="http://schemas.openxmlformats.org/officeDocument/2006/relationships/tags" Target="../tags/tag92.xml"/><Relationship Id="rId5" Type="http://schemas.openxmlformats.org/officeDocument/2006/relationships/tags" Target="../tags/tag86.xml"/><Relationship Id="rId15" Type="http://schemas.openxmlformats.org/officeDocument/2006/relationships/tags" Target="../tags/tag96.xml"/><Relationship Id="rId10" Type="http://schemas.openxmlformats.org/officeDocument/2006/relationships/tags" Target="../tags/tag91.xml"/><Relationship Id="rId4" Type="http://schemas.openxmlformats.org/officeDocument/2006/relationships/tags" Target="../tags/tag85.xml"/><Relationship Id="rId9" Type="http://schemas.openxmlformats.org/officeDocument/2006/relationships/tags" Target="../tags/tag90.xml"/><Relationship Id="rId14" Type="http://schemas.openxmlformats.org/officeDocument/2006/relationships/tags" Target="../tags/tag95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16EA533F-94AF-4D02-A54D-267AD6DA2E6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052455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617" name="think-cell Slide" r:id="rId11" imgW="344" imgH="344" progId="TCLayout.ActiveDocument.1">
                  <p:embed/>
                </p:oleObj>
              </mc:Choice>
              <mc:Fallback>
                <p:oleObj name="think-cell Slide" r:id="rId11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C54CE3BD-55D7-42CB-8D9D-17E2A0D74581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44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pic>
        <p:nvPicPr>
          <p:cNvPr id="16" name="Partnership">
            <a:extLst>
              <a:ext uri="{FF2B5EF4-FFF2-40B4-BE49-F238E27FC236}">
                <a16:creationId xmlns:a16="http://schemas.microsoft.com/office/drawing/2014/main" id="{B217107C-D279-4D90-AB38-6A6D6782398B}"/>
              </a:ext>
            </a:extLst>
          </p:cNvPr>
          <p:cNvPicPr>
            <a:picLocks noChangeAspect="1"/>
          </p:cNvPicPr>
          <p:nvPr userDrawn="1"/>
        </p:nvPicPr>
        <p:blipFill>
          <a:blip r:embed="rId13"/>
          <a:stretch>
            <a:fillRect/>
          </a:stretch>
        </p:blipFill>
        <p:spPr>
          <a:xfrm>
            <a:off x="9144" y="0"/>
            <a:ext cx="12192000" cy="6858000"/>
          </a:xfrm>
          <a:prstGeom prst="rect">
            <a:avLst/>
          </a:prstGeom>
        </p:spPr>
      </p:pic>
      <p:grpSp>
        <p:nvGrpSpPr>
          <p:cNvPr id="4" name="LogoImage" hidden="1">
            <a:extLst>
              <a:ext uri="{FF2B5EF4-FFF2-40B4-BE49-F238E27FC236}">
                <a16:creationId xmlns:a16="http://schemas.microsoft.com/office/drawing/2014/main" id="{275CA5E5-0CE7-4325-8DA5-DA17C9380A0C}"/>
              </a:ext>
            </a:extLst>
          </p:cNvPr>
          <p:cNvGrpSpPr>
            <a:grpSpLocks noChangeAspect="1"/>
          </p:cNvGrpSpPr>
          <p:nvPr userDrawn="1">
            <p:custDataLst>
              <p:tags r:id="rId4"/>
            </p:custDataLst>
          </p:nvPr>
        </p:nvGrpSpPr>
        <p:grpSpPr bwMode="black">
          <a:xfrm>
            <a:off x="551942" y="481160"/>
            <a:ext cx="1893201" cy="585216"/>
            <a:chOff x="0" y="973"/>
            <a:chExt cx="7680" cy="2374"/>
          </a:xfrm>
        </p:grpSpPr>
        <p:sp>
          <p:nvSpPr>
            <p:cNvPr id="5" name="AutoShape 3" hidden="1">
              <a:extLst>
                <a:ext uri="{FF2B5EF4-FFF2-40B4-BE49-F238E27FC236}">
                  <a16:creationId xmlns:a16="http://schemas.microsoft.com/office/drawing/2014/main" id="{1F430752-9F46-430E-93A8-58E8FAF85299}"/>
                </a:ext>
              </a:extLst>
            </p:cNvPr>
            <p:cNvSpPr>
              <a:spLocks noChangeAspect="1" noChangeArrowheads="1" noTextEdit="1"/>
            </p:cNvSpPr>
            <p:nvPr userDrawn="1"/>
          </p:nvSpPr>
          <p:spPr bwMode="black">
            <a:xfrm>
              <a:off x="0" y="973"/>
              <a:ext cx="7680" cy="23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anose="020B0604020202020204" pitchFamily="34" charset="0"/>
              </a:endParaRPr>
            </a:p>
          </p:txBody>
        </p:sp>
        <p:sp>
          <p:nvSpPr>
            <p:cNvPr id="6" name="Freeform 5" hidden="1">
              <a:extLst>
                <a:ext uri="{FF2B5EF4-FFF2-40B4-BE49-F238E27FC236}">
                  <a16:creationId xmlns:a16="http://schemas.microsoft.com/office/drawing/2014/main" id="{20C9A1A2-5968-4C0E-9E0B-C061BA0E7F39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0" y="974"/>
              <a:ext cx="7680" cy="2373"/>
            </a:xfrm>
            <a:custGeom>
              <a:avLst/>
              <a:gdLst>
                <a:gd name="T0" fmla="*/ 4209 w 15155"/>
                <a:gd name="T1" fmla="*/ 2986 h 4678"/>
                <a:gd name="T2" fmla="*/ 3707 w 15155"/>
                <a:gd name="T3" fmla="*/ 2422 h 4678"/>
                <a:gd name="T4" fmla="*/ 3712 w 15155"/>
                <a:gd name="T5" fmla="*/ 2340 h 4678"/>
                <a:gd name="T6" fmla="*/ 4724 w 15155"/>
                <a:gd name="T7" fmla="*/ 4124 h 4678"/>
                <a:gd name="T8" fmla="*/ 3330 w 15155"/>
                <a:gd name="T9" fmla="*/ 3521 h 4678"/>
                <a:gd name="T10" fmla="*/ 5673 w 15155"/>
                <a:gd name="T11" fmla="*/ 3002 h 4678"/>
                <a:gd name="T12" fmla="*/ 6627 w 15155"/>
                <a:gd name="T13" fmla="*/ 2408 h 4678"/>
                <a:gd name="T14" fmla="*/ 6279 w 15155"/>
                <a:gd name="T15" fmla="*/ 4007 h 4678"/>
                <a:gd name="T16" fmla="*/ 10270 w 15155"/>
                <a:gd name="T17" fmla="*/ 3073 h 4678"/>
                <a:gd name="T18" fmla="*/ 10801 w 15155"/>
                <a:gd name="T19" fmla="*/ 4678 h 4678"/>
                <a:gd name="T20" fmla="*/ 11466 w 15155"/>
                <a:gd name="T21" fmla="*/ 3537 h 4678"/>
                <a:gd name="T22" fmla="*/ 10602 w 15155"/>
                <a:gd name="T23" fmla="*/ 3405 h 4678"/>
                <a:gd name="T24" fmla="*/ 14762 w 15155"/>
                <a:gd name="T25" fmla="*/ 3073 h 4678"/>
                <a:gd name="T26" fmla="*/ 14505 w 15155"/>
                <a:gd name="T27" fmla="*/ 2986 h 4678"/>
                <a:gd name="T28" fmla="*/ 14145 w 15155"/>
                <a:gd name="T29" fmla="*/ 4620 h 4678"/>
                <a:gd name="T30" fmla="*/ 15155 w 15155"/>
                <a:gd name="T31" fmla="*/ 2986 h 4678"/>
                <a:gd name="T32" fmla="*/ 10231 w 15155"/>
                <a:gd name="T33" fmla="*/ 4037 h 4678"/>
                <a:gd name="T34" fmla="*/ 9005 w 15155"/>
                <a:gd name="T35" fmla="*/ 2961 h 4678"/>
                <a:gd name="T36" fmla="*/ 8378 w 15155"/>
                <a:gd name="T37" fmla="*/ 3194 h 4678"/>
                <a:gd name="T38" fmla="*/ 8775 w 15155"/>
                <a:gd name="T39" fmla="*/ 4037 h 4678"/>
                <a:gd name="T40" fmla="*/ 9107 w 15155"/>
                <a:gd name="T41" fmla="*/ 3916 h 4678"/>
                <a:gd name="T42" fmla="*/ 9439 w 15155"/>
                <a:gd name="T43" fmla="*/ 4037 h 4678"/>
                <a:gd name="T44" fmla="*/ 9712 w 15155"/>
                <a:gd name="T45" fmla="*/ 4037 h 4678"/>
                <a:gd name="T46" fmla="*/ 7962 w 15155"/>
                <a:gd name="T47" fmla="*/ 3741 h 4678"/>
                <a:gd name="T48" fmla="*/ 7962 w 15155"/>
                <a:gd name="T49" fmla="*/ 3741 h 4678"/>
                <a:gd name="T50" fmla="*/ 12654 w 15155"/>
                <a:gd name="T51" fmla="*/ 2986 h 4678"/>
                <a:gd name="T52" fmla="*/ 12586 w 15155"/>
                <a:gd name="T53" fmla="*/ 4036 h 4678"/>
                <a:gd name="T54" fmla="*/ 11780 w 15155"/>
                <a:gd name="T55" fmla="*/ 3367 h 4678"/>
                <a:gd name="T56" fmla="*/ 11871 w 15155"/>
                <a:gd name="T57" fmla="*/ 4146 h 4678"/>
                <a:gd name="T58" fmla="*/ 13060 w 15155"/>
                <a:gd name="T59" fmla="*/ 3917 h 4678"/>
                <a:gd name="T60" fmla="*/ 13423 w 15155"/>
                <a:gd name="T61" fmla="*/ 4037 h 4678"/>
                <a:gd name="T62" fmla="*/ 12250 w 15155"/>
                <a:gd name="T63" fmla="*/ 3787 h 4678"/>
                <a:gd name="T64" fmla="*/ 12250 w 15155"/>
                <a:gd name="T65" fmla="*/ 3787 h 4678"/>
                <a:gd name="T66" fmla="*/ 8758 w 15155"/>
                <a:gd name="T67" fmla="*/ 1080 h 4678"/>
                <a:gd name="T68" fmla="*/ 8559 w 15155"/>
                <a:gd name="T69" fmla="*/ 1013 h 4678"/>
                <a:gd name="T70" fmla="*/ 9105 w 15155"/>
                <a:gd name="T71" fmla="*/ 2310 h 4678"/>
                <a:gd name="T72" fmla="*/ 9553 w 15155"/>
                <a:gd name="T73" fmla="*/ 626 h 4678"/>
                <a:gd name="T74" fmla="*/ 9293 w 15155"/>
                <a:gd name="T75" fmla="*/ 713 h 4678"/>
                <a:gd name="T76" fmla="*/ 8947 w 15155"/>
                <a:gd name="T77" fmla="*/ 843 h 4678"/>
                <a:gd name="T78" fmla="*/ 5105 w 15155"/>
                <a:gd name="T79" fmla="*/ 349 h 4678"/>
                <a:gd name="T80" fmla="*/ 3793 w 15155"/>
                <a:gd name="T81" fmla="*/ 882 h 4678"/>
                <a:gd name="T82" fmla="*/ 5848 w 15155"/>
                <a:gd name="T83" fmla="*/ 981 h 4678"/>
                <a:gd name="T84" fmla="*/ 6211 w 15155"/>
                <a:gd name="T85" fmla="*/ 1763 h 4678"/>
                <a:gd name="T86" fmla="*/ 6296 w 15155"/>
                <a:gd name="T87" fmla="*/ 601 h 4678"/>
                <a:gd name="T88" fmla="*/ 5638 w 15155"/>
                <a:gd name="T89" fmla="*/ 833 h 4678"/>
                <a:gd name="T90" fmla="*/ 4836 w 15155"/>
                <a:gd name="T91" fmla="*/ 625 h 4678"/>
                <a:gd name="T92" fmla="*/ 4778 w 15155"/>
                <a:gd name="T93" fmla="*/ 1676 h 4678"/>
                <a:gd name="T94" fmla="*/ 4692 w 15155"/>
                <a:gd name="T95" fmla="*/ 0 h 4678"/>
                <a:gd name="T96" fmla="*/ 3614 w 15155"/>
                <a:gd name="T97" fmla="*/ 221 h 4678"/>
                <a:gd name="T98" fmla="*/ 3236 w 15155"/>
                <a:gd name="T99" fmla="*/ 88 h 4678"/>
                <a:gd name="T100" fmla="*/ 3836 w 15155"/>
                <a:gd name="T101" fmla="*/ 1763 h 4678"/>
                <a:gd name="T102" fmla="*/ 7219 w 15155"/>
                <a:gd name="T103" fmla="*/ 683 h 4678"/>
                <a:gd name="T104" fmla="*/ 7226 w 15155"/>
                <a:gd name="T105" fmla="*/ 598 h 4678"/>
                <a:gd name="T106" fmla="*/ 6952 w 15155"/>
                <a:gd name="T107" fmla="*/ 1361 h 4678"/>
                <a:gd name="T108" fmla="*/ 7720 w 15155"/>
                <a:gd name="T109" fmla="*/ 1446 h 4678"/>
                <a:gd name="T110" fmla="*/ 3049 w 15155"/>
                <a:gd name="T111" fmla="*/ 753 h 4678"/>
                <a:gd name="T112" fmla="*/ 2703 w 15155"/>
                <a:gd name="T113" fmla="*/ 1584 h 4678"/>
                <a:gd name="T114" fmla="*/ 87 w 15155"/>
                <a:gd name="T115" fmla="*/ 88 h 4678"/>
                <a:gd name="T116" fmla="*/ 549 w 15155"/>
                <a:gd name="T117" fmla="*/ 1763 h 4678"/>
                <a:gd name="T118" fmla="*/ 1609 w 15155"/>
                <a:gd name="T119" fmla="*/ 259 h 4678"/>
                <a:gd name="T120" fmla="*/ 2069 w 15155"/>
                <a:gd name="T121" fmla="*/ 1676 h 4678"/>
                <a:gd name="T122" fmla="*/ 2070 w 15155"/>
                <a:gd name="T123" fmla="*/ 0 h 46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5155" h="4678">
                  <a:moveTo>
                    <a:pt x="4451" y="3751"/>
                  </a:moveTo>
                  <a:cubicBezTo>
                    <a:pt x="4549" y="3607"/>
                    <a:pt x="4604" y="3438"/>
                    <a:pt x="4609" y="3264"/>
                  </a:cubicBezTo>
                  <a:cubicBezTo>
                    <a:pt x="4611" y="3211"/>
                    <a:pt x="4732" y="3072"/>
                    <a:pt x="4766" y="3072"/>
                  </a:cubicBezTo>
                  <a:cubicBezTo>
                    <a:pt x="4834" y="3072"/>
                    <a:pt x="4834" y="3072"/>
                    <a:pt x="4834" y="3072"/>
                  </a:cubicBezTo>
                  <a:cubicBezTo>
                    <a:pt x="4834" y="2986"/>
                    <a:pt x="4834" y="2986"/>
                    <a:pt x="4834" y="2986"/>
                  </a:cubicBezTo>
                  <a:cubicBezTo>
                    <a:pt x="4209" y="2986"/>
                    <a:pt x="4209" y="2986"/>
                    <a:pt x="4209" y="2986"/>
                  </a:cubicBezTo>
                  <a:cubicBezTo>
                    <a:pt x="4209" y="3073"/>
                    <a:pt x="4209" y="3073"/>
                    <a:pt x="4209" y="3073"/>
                  </a:cubicBezTo>
                  <a:cubicBezTo>
                    <a:pt x="4380" y="3078"/>
                    <a:pt x="4487" y="3175"/>
                    <a:pt x="4487" y="3337"/>
                  </a:cubicBezTo>
                  <a:cubicBezTo>
                    <a:pt x="4487" y="3482"/>
                    <a:pt x="4463" y="3591"/>
                    <a:pt x="4395" y="3702"/>
                  </a:cubicBezTo>
                  <a:cubicBezTo>
                    <a:pt x="4155" y="3489"/>
                    <a:pt x="3882" y="3230"/>
                    <a:pt x="3654" y="2986"/>
                  </a:cubicBezTo>
                  <a:cubicBezTo>
                    <a:pt x="3501" y="2928"/>
                    <a:pt x="3404" y="2814"/>
                    <a:pt x="3404" y="2673"/>
                  </a:cubicBezTo>
                  <a:cubicBezTo>
                    <a:pt x="3404" y="2514"/>
                    <a:pt x="3518" y="2422"/>
                    <a:pt x="3707" y="2422"/>
                  </a:cubicBezTo>
                  <a:cubicBezTo>
                    <a:pt x="3942" y="2422"/>
                    <a:pt x="4116" y="2659"/>
                    <a:pt x="4116" y="2777"/>
                  </a:cubicBezTo>
                  <a:cubicBezTo>
                    <a:pt x="4191" y="2777"/>
                    <a:pt x="4191" y="2777"/>
                    <a:pt x="4191" y="2777"/>
                  </a:cubicBezTo>
                  <a:cubicBezTo>
                    <a:pt x="4191" y="2362"/>
                    <a:pt x="4191" y="2362"/>
                    <a:pt x="4191" y="2362"/>
                  </a:cubicBezTo>
                  <a:cubicBezTo>
                    <a:pt x="4116" y="2362"/>
                    <a:pt x="4116" y="2362"/>
                    <a:pt x="4116" y="2362"/>
                  </a:cubicBezTo>
                  <a:cubicBezTo>
                    <a:pt x="4097" y="2391"/>
                    <a:pt x="4074" y="2393"/>
                    <a:pt x="4034" y="2393"/>
                  </a:cubicBezTo>
                  <a:cubicBezTo>
                    <a:pt x="3959" y="2393"/>
                    <a:pt x="3874" y="2340"/>
                    <a:pt x="3712" y="2340"/>
                  </a:cubicBezTo>
                  <a:cubicBezTo>
                    <a:pt x="3453" y="2340"/>
                    <a:pt x="3288" y="2480"/>
                    <a:pt x="3288" y="2732"/>
                  </a:cubicBezTo>
                  <a:cubicBezTo>
                    <a:pt x="3288" y="2887"/>
                    <a:pt x="3346" y="2991"/>
                    <a:pt x="3431" y="3100"/>
                  </a:cubicBezTo>
                  <a:cubicBezTo>
                    <a:pt x="3253" y="3219"/>
                    <a:pt x="3146" y="3420"/>
                    <a:pt x="3148" y="3634"/>
                  </a:cubicBezTo>
                  <a:cubicBezTo>
                    <a:pt x="3148" y="3944"/>
                    <a:pt x="3421" y="4155"/>
                    <a:pt x="3707" y="4155"/>
                  </a:cubicBezTo>
                  <a:cubicBezTo>
                    <a:pt x="3966" y="4155"/>
                    <a:pt x="4145" y="4080"/>
                    <a:pt x="4286" y="3944"/>
                  </a:cubicBezTo>
                  <a:cubicBezTo>
                    <a:pt x="4431" y="4078"/>
                    <a:pt x="4552" y="4124"/>
                    <a:pt x="4724" y="4124"/>
                  </a:cubicBezTo>
                  <a:cubicBezTo>
                    <a:pt x="4913" y="4124"/>
                    <a:pt x="4913" y="4124"/>
                    <a:pt x="4913" y="4124"/>
                  </a:cubicBezTo>
                  <a:cubicBezTo>
                    <a:pt x="4913" y="4036"/>
                    <a:pt x="4913" y="4036"/>
                    <a:pt x="4913" y="4036"/>
                  </a:cubicBezTo>
                  <a:cubicBezTo>
                    <a:pt x="4809" y="4036"/>
                    <a:pt x="4809" y="4036"/>
                    <a:pt x="4809" y="4036"/>
                  </a:cubicBezTo>
                  <a:cubicBezTo>
                    <a:pt x="4685" y="3947"/>
                    <a:pt x="4565" y="3852"/>
                    <a:pt x="4451" y="3751"/>
                  </a:cubicBezTo>
                  <a:close/>
                  <a:moveTo>
                    <a:pt x="3851" y="4015"/>
                  </a:moveTo>
                  <a:cubicBezTo>
                    <a:pt x="3599" y="4015"/>
                    <a:pt x="3330" y="3772"/>
                    <a:pt x="3330" y="3521"/>
                  </a:cubicBezTo>
                  <a:cubicBezTo>
                    <a:pt x="3330" y="3339"/>
                    <a:pt x="3378" y="3243"/>
                    <a:pt x="3470" y="3148"/>
                  </a:cubicBezTo>
                  <a:cubicBezTo>
                    <a:pt x="3707" y="3414"/>
                    <a:pt x="3962" y="3664"/>
                    <a:pt x="4233" y="3896"/>
                  </a:cubicBezTo>
                  <a:cubicBezTo>
                    <a:pt x="4134" y="3971"/>
                    <a:pt x="4008" y="4015"/>
                    <a:pt x="3851" y="4015"/>
                  </a:cubicBezTo>
                  <a:close/>
                  <a:moveTo>
                    <a:pt x="6279" y="4007"/>
                  </a:moveTo>
                  <a:cubicBezTo>
                    <a:pt x="5920" y="4007"/>
                    <a:pt x="5707" y="3758"/>
                    <a:pt x="5678" y="3450"/>
                  </a:cubicBezTo>
                  <a:cubicBezTo>
                    <a:pt x="5664" y="3301"/>
                    <a:pt x="5663" y="3151"/>
                    <a:pt x="5673" y="3002"/>
                  </a:cubicBezTo>
                  <a:cubicBezTo>
                    <a:pt x="5705" y="2605"/>
                    <a:pt x="5887" y="2435"/>
                    <a:pt x="6192" y="2435"/>
                  </a:cubicBezTo>
                  <a:cubicBezTo>
                    <a:pt x="6523" y="2435"/>
                    <a:pt x="6726" y="2803"/>
                    <a:pt x="6726" y="2985"/>
                  </a:cubicBezTo>
                  <a:cubicBezTo>
                    <a:pt x="6801" y="2985"/>
                    <a:pt x="6801" y="2985"/>
                    <a:pt x="6801" y="2985"/>
                  </a:cubicBezTo>
                  <a:cubicBezTo>
                    <a:pt x="6801" y="2362"/>
                    <a:pt x="6801" y="2362"/>
                    <a:pt x="6801" y="2362"/>
                  </a:cubicBezTo>
                  <a:cubicBezTo>
                    <a:pt x="6736" y="2362"/>
                    <a:pt x="6736" y="2362"/>
                    <a:pt x="6736" y="2362"/>
                  </a:cubicBezTo>
                  <a:cubicBezTo>
                    <a:pt x="6709" y="2393"/>
                    <a:pt x="6683" y="2408"/>
                    <a:pt x="6627" y="2408"/>
                  </a:cubicBezTo>
                  <a:cubicBezTo>
                    <a:pt x="6489" y="2408"/>
                    <a:pt x="6370" y="2330"/>
                    <a:pt x="6181" y="2330"/>
                  </a:cubicBezTo>
                  <a:cubicBezTo>
                    <a:pt x="5687" y="2330"/>
                    <a:pt x="5392" y="2732"/>
                    <a:pt x="5392" y="3236"/>
                  </a:cubicBezTo>
                  <a:cubicBezTo>
                    <a:pt x="5392" y="3740"/>
                    <a:pt x="5719" y="4156"/>
                    <a:pt x="6225" y="4156"/>
                  </a:cubicBezTo>
                  <a:cubicBezTo>
                    <a:pt x="6577" y="4156"/>
                    <a:pt x="6824" y="3967"/>
                    <a:pt x="6937" y="3652"/>
                  </a:cubicBezTo>
                  <a:cubicBezTo>
                    <a:pt x="6845" y="3652"/>
                    <a:pt x="6845" y="3652"/>
                    <a:pt x="6845" y="3652"/>
                  </a:cubicBezTo>
                  <a:cubicBezTo>
                    <a:pt x="6731" y="3884"/>
                    <a:pt x="6583" y="4007"/>
                    <a:pt x="6279" y="4007"/>
                  </a:cubicBezTo>
                  <a:close/>
                  <a:moveTo>
                    <a:pt x="11018" y="2957"/>
                  </a:moveTo>
                  <a:cubicBezTo>
                    <a:pt x="10830" y="2957"/>
                    <a:pt x="10704" y="3037"/>
                    <a:pt x="10605" y="3221"/>
                  </a:cubicBezTo>
                  <a:cubicBezTo>
                    <a:pt x="10566" y="2986"/>
                    <a:pt x="10566" y="2986"/>
                    <a:pt x="10566" y="2986"/>
                  </a:cubicBezTo>
                  <a:cubicBezTo>
                    <a:pt x="10195" y="2986"/>
                    <a:pt x="10195" y="2986"/>
                    <a:pt x="10195" y="2986"/>
                  </a:cubicBezTo>
                  <a:cubicBezTo>
                    <a:pt x="10195" y="3073"/>
                    <a:pt x="10195" y="3073"/>
                    <a:pt x="10195" y="3073"/>
                  </a:cubicBezTo>
                  <a:cubicBezTo>
                    <a:pt x="10270" y="3073"/>
                    <a:pt x="10270" y="3073"/>
                    <a:pt x="10270" y="3073"/>
                  </a:cubicBezTo>
                  <a:cubicBezTo>
                    <a:pt x="10304" y="3073"/>
                    <a:pt x="10391" y="3158"/>
                    <a:pt x="10391" y="3194"/>
                  </a:cubicBezTo>
                  <a:cubicBezTo>
                    <a:pt x="10391" y="4470"/>
                    <a:pt x="10391" y="4470"/>
                    <a:pt x="10391" y="4470"/>
                  </a:cubicBezTo>
                  <a:cubicBezTo>
                    <a:pt x="10391" y="4508"/>
                    <a:pt x="10304" y="4591"/>
                    <a:pt x="10270" y="4591"/>
                  </a:cubicBezTo>
                  <a:cubicBezTo>
                    <a:pt x="10195" y="4591"/>
                    <a:pt x="10195" y="4591"/>
                    <a:pt x="10195" y="4591"/>
                  </a:cubicBezTo>
                  <a:cubicBezTo>
                    <a:pt x="10195" y="4678"/>
                    <a:pt x="10195" y="4678"/>
                    <a:pt x="10195" y="4678"/>
                  </a:cubicBezTo>
                  <a:cubicBezTo>
                    <a:pt x="10801" y="4678"/>
                    <a:pt x="10801" y="4678"/>
                    <a:pt x="10801" y="4678"/>
                  </a:cubicBezTo>
                  <a:cubicBezTo>
                    <a:pt x="10801" y="4591"/>
                    <a:pt x="10801" y="4591"/>
                    <a:pt x="10801" y="4591"/>
                  </a:cubicBezTo>
                  <a:cubicBezTo>
                    <a:pt x="10726" y="4591"/>
                    <a:pt x="10726" y="4591"/>
                    <a:pt x="10726" y="4591"/>
                  </a:cubicBezTo>
                  <a:cubicBezTo>
                    <a:pt x="10694" y="4591"/>
                    <a:pt x="10605" y="4508"/>
                    <a:pt x="10605" y="4470"/>
                  </a:cubicBezTo>
                  <a:cubicBezTo>
                    <a:pt x="10605" y="3922"/>
                    <a:pt x="10605" y="3922"/>
                    <a:pt x="10605" y="3922"/>
                  </a:cubicBezTo>
                  <a:cubicBezTo>
                    <a:pt x="10687" y="4070"/>
                    <a:pt x="10793" y="4147"/>
                    <a:pt x="10994" y="4147"/>
                  </a:cubicBezTo>
                  <a:cubicBezTo>
                    <a:pt x="11272" y="4147"/>
                    <a:pt x="11466" y="3888"/>
                    <a:pt x="11466" y="3537"/>
                  </a:cubicBezTo>
                  <a:cubicBezTo>
                    <a:pt x="11466" y="3186"/>
                    <a:pt x="11297" y="2957"/>
                    <a:pt x="11018" y="2957"/>
                  </a:cubicBezTo>
                  <a:close/>
                  <a:moveTo>
                    <a:pt x="11246" y="3722"/>
                  </a:moveTo>
                  <a:cubicBezTo>
                    <a:pt x="11222" y="3903"/>
                    <a:pt x="11130" y="4027"/>
                    <a:pt x="10934" y="4027"/>
                  </a:cubicBezTo>
                  <a:cubicBezTo>
                    <a:pt x="10753" y="4029"/>
                    <a:pt x="10604" y="3884"/>
                    <a:pt x="10602" y="3703"/>
                  </a:cubicBezTo>
                  <a:cubicBezTo>
                    <a:pt x="10602" y="3701"/>
                    <a:pt x="10602" y="3698"/>
                    <a:pt x="10602" y="3695"/>
                  </a:cubicBezTo>
                  <a:cubicBezTo>
                    <a:pt x="10602" y="3405"/>
                    <a:pt x="10602" y="3405"/>
                    <a:pt x="10602" y="3405"/>
                  </a:cubicBezTo>
                  <a:cubicBezTo>
                    <a:pt x="10658" y="3225"/>
                    <a:pt x="10767" y="3092"/>
                    <a:pt x="10961" y="3092"/>
                  </a:cubicBezTo>
                  <a:cubicBezTo>
                    <a:pt x="11125" y="3092"/>
                    <a:pt x="11224" y="3208"/>
                    <a:pt x="11249" y="3390"/>
                  </a:cubicBezTo>
                  <a:cubicBezTo>
                    <a:pt x="11262" y="3500"/>
                    <a:pt x="11261" y="3612"/>
                    <a:pt x="11246" y="3722"/>
                  </a:cubicBezTo>
                  <a:close/>
                  <a:moveTo>
                    <a:pt x="14693" y="2986"/>
                  </a:moveTo>
                  <a:cubicBezTo>
                    <a:pt x="14693" y="3073"/>
                    <a:pt x="14693" y="3073"/>
                    <a:pt x="14693" y="3073"/>
                  </a:cubicBezTo>
                  <a:cubicBezTo>
                    <a:pt x="14762" y="3073"/>
                    <a:pt x="14762" y="3073"/>
                    <a:pt x="14762" y="3073"/>
                  </a:cubicBezTo>
                  <a:cubicBezTo>
                    <a:pt x="14794" y="3073"/>
                    <a:pt x="14864" y="3153"/>
                    <a:pt x="14862" y="3199"/>
                  </a:cubicBezTo>
                  <a:cubicBezTo>
                    <a:pt x="14610" y="3758"/>
                    <a:pt x="14610" y="3758"/>
                    <a:pt x="14610" y="3758"/>
                  </a:cubicBezTo>
                  <a:cubicBezTo>
                    <a:pt x="14335" y="3196"/>
                    <a:pt x="14335" y="3196"/>
                    <a:pt x="14335" y="3196"/>
                  </a:cubicBezTo>
                  <a:cubicBezTo>
                    <a:pt x="14335" y="3154"/>
                    <a:pt x="14403" y="3073"/>
                    <a:pt x="14434" y="3073"/>
                  </a:cubicBezTo>
                  <a:cubicBezTo>
                    <a:pt x="14505" y="3073"/>
                    <a:pt x="14505" y="3073"/>
                    <a:pt x="14505" y="3073"/>
                  </a:cubicBezTo>
                  <a:cubicBezTo>
                    <a:pt x="14505" y="2986"/>
                    <a:pt x="14505" y="2986"/>
                    <a:pt x="14505" y="2986"/>
                  </a:cubicBezTo>
                  <a:cubicBezTo>
                    <a:pt x="13889" y="2986"/>
                    <a:pt x="13889" y="2986"/>
                    <a:pt x="13889" y="2986"/>
                  </a:cubicBezTo>
                  <a:cubicBezTo>
                    <a:pt x="13889" y="3073"/>
                    <a:pt x="13889" y="3073"/>
                    <a:pt x="13889" y="3073"/>
                  </a:cubicBezTo>
                  <a:cubicBezTo>
                    <a:pt x="13940" y="3073"/>
                    <a:pt x="13940" y="3073"/>
                    <a:pt x="13940" y="3073"/>
                  </a:cubicBezTo>
                  <a:cubicBezTo>
                    <a:pt x="13969" y="3073"/>
                    <a:pt x="14068" y="3167"/>
                    <a:pt x="14087" y="3204"/>
                  </a:cubicBezTo>
                  <a:cubicBezTo>
                    <a:pt x="14489" y="3995"/>
                    <a:pt x="14489" y="3995"/>
                    <a:pt x="14489" y="3995"/>
                  </a:cubicBezTo>
                  <a:cubicBezTo>
                    <a:pt x="14145" y="4620"/>
                    <a:pt x="14145" y="4620"/>
                    <a:pt x="14145" y="4620"/>
                  </a:cubicBezTo>
                  <a:cubicBezTo>
                    <a:pt x="14245" y="4671"/>
                    <a:pt x="14245" y="4671"/>
                    <a:pt x="14245" y="4671"/>
                  </a:cubicBezTo>
                  <a:cubicBezTo>
                    <a:pt x="14584" y="4030"/>
                    <a:pt x="14584" y="4030"/>
                    <a:pt x="14584" y="4030"/>
                  </a:cubicBezTo>
                  <a:cubicBezTo>
                    <a:pt x="14968" y="3199"/>
                    <a:pt x="14968" y="3199"/>
                    <a:pt x="14968" y="3199"/>
                  </a:cubicBezTo>
                  <a:cubicBezTo>
                    <a:pt x="14993" y="3161"/>
                    <a:pt x="15075" y="3073"/>
                    <a:pt x="15102" y="3073"/>
                  </a:cubicBezTo>
                  <a:cubicBezTo>
                    <a:pt x="15155" y="3073"/>
                    <a:pt x="15155" y="3073"/>
                    <a:pt x="15155" y="3073"/>
                  </a:cubicBezTo>
                  <a:cubicBezTo>
                    <a:pt x="15155" y="2986"/>
                    <a:pt x="15155" y="2986"/>
                    <a:pt x="15155" y="2986"/>
                  </a:cubicBezTo>
                  <a:lnTo>
                    <a:pt x="14693" y="2986"/>
                  </a:lnTo>
                  <a:close/>
                  <a:moveTo>
                    <a:pt x="9712" y="4037"/>
                  </a:moveTo>
                  <a:cubicBezTo>
                    <a:pt x="9647" y="4037"/>
                    <a:pt x="9647" y="4037"/>
                    <a:pt x="9647" y="4037"/>
                  </a:cubicBezTo>
                  <a:cubicBezTo>
                    <a:pt x="9647" y="4124"/>
                    <a:pt x="9647" y="4124"/>
                    <a:pt x="9647" y="4124"/>
                  </a:cubicBezTo>
                  <a:cubicBezTo>
                    <a:pt x="10231" y="4124"/>
                    <a:pt x="10231" y="4124"/>
                    <a:pt x="10231" y="4124"/>
                  </a:cubicBezTo>
                  <a:cubicBezTo>
                    <a:pt x="10231" y="4037"/>
                    <a:pt x="10231" y="4037"/>
                    <a:pt x="10231" y="4037"/>
                  </a:cubicBezTo>
                  <a:cubicBezTo>
                    <a:pt x="10165" y="4037"/>
                    <a:pt x="10165" y="4037"/>
                    <a:pt x="10165" y="4037"/>
                  </a:cubicBezTo>
                  <a:cubicBezTo>
                    <a:pt x="10131" y="4037"/>
                    <a:pt x="10044" y="3954"/>
                    <a:pt x="10044" y="3916"/>
                  </a:cubicBezTo>
                  <a:cubicBezTo>
                    <a:pt x="10044" y="3288"/>
                    <a:pt x="10044" y="3288"/>
                    <a:pt x="10044" y="3288"/>
                  </a:cubicBezTo>
                  <a:cubicBezTo>
                    <a:pt x="10044" y="3080"/>
                    <a:pt x="9904" y="2964"/>
                    <a:pt x="9732" y="2964"/>
                  </a:cubicBezTo>
                  <a:cubicBezTo>
                    <a:pt x="9538" y="2964"/>
                    <a:pt x="9448" y="3066"/>
                    <a:pt x="9308" y="3204"/>
                  </a:cubicBezTo>
                  <a:cubicBezTo>
                    <a:pt x="9287" y="3044"/>
                    <a:pt x="9158" y="2961"/>
                    <a:pt x="9005" y="2961"/>
                  </a:cubicBezTo>
                  <a:cubicBezTo>
                    <a:pt x="8804" y="2961"/>
                    <a:pt x="8720" y="3068"/>
                    <a:pt x="8589" y="3206"/>
                  </a:cubicBezTo>
                  <a:cubicBezTo>
                    <a:pt x="8544" y="2986"/>
                    <a:pt x="8544" y="2986"/>
                    <a:pt x="8544" y="2986"/>
                  </a:cubicBezTo>
                  <a:cubicBezTo>
                    <a:pt x="8192" y="2986"/>
                    <a:pt x="8192" y="2986"/>
                    <a:pt x="8192" y="2986"/>
                  </a:cubicBezTo>
                  <a:cubicBezTo>
                    <a:pt x="8192" y="3073"/>
                    <a:pt x="8192" y="3073"/>
                    <a:pt x="8192" y="3073"/>
                  </a:cubicBezTo>
                  <a:cubicBezTo>
                    <a:pt x="8257" y="3073"/>
                    <a:pt x="8257" y="3073"/>
                    <a:pt x="8257" y="3073"/>
                  </a:cubicBezTo>
                  <a:cubicBezTo>
                    <a:pt x="8291" y="3073"/>
                    <a:pt x="8378" y="3158"/>
                    <a:pt x="8378" y="3194"/>
                  </a:cubicBezTo>
                  <a:cubicBezTo>
                    <a:pt x="8378" y="3916"/>
                    <a:pt x="8378" y="3916"/>
                    <a:pt x="8378" y="3916"/>
                  </a:cubicBezTo>
                  <a:cubicBezTo>
                    <a:pt x="8378" y="3954"/>
                    <a:pt x="8291" y="4037"/>
                    <a:pt x="8257" y="4037"/>
                  </a:cubicBezTo>
                  <a:cubicBezTo>
                    <a:pt x="8192" y="4037"/>
                    <a:pt x="8192" y="4037"/>
                    <a:pt x="8192" y="4037"/>
                  </a:cubicBezTo>
                  <a:cubicBezTo>
                    <a:pt x="8192" y="4124"/>
                    <a:pt x="8192" y="4124"/>
                    <a:pt x="8192" y="4124"/>
                  </a:cubicBezTo>
                  <a:cubicBezTo>
                    <a:pt x="8775" y="4124"/>
                    <a:pt x="8775" y="4124"/>
                    <a:pt x="8775" y="4124"/>
                  </a:cubicBezTo>
                  <a:cubicBezTo>
                    <a:pt x="8775" y="4037"/>
                    <a:pt x="8775" y="4037"/>
                    <a:pt x="8775" y="4037"/>
                  </a:cubicBezTo>
                  <a:cubicBezTo>
                    <a:pt x="8710" y="4037"/>
                    <a:pt x="8710" y="4037"/>
                    <a:pt x="8710" y="4037"/>
                  </a:cubicBezTo>
                  <a:cubicBezTo>
                    <a:pt x="8676" y="4037"/>
                    <a:pt x="8589" y="3954"/>
                    <a:pt x="8589" y="3916"/>
                  </a:cubicBezTo>
                  <a:cubicBezTo>
                    <a:pt x="8589" y="3330"/>
                    <a:pt x="8589" y="3330"/>
                    <a:pt x="8589" y="3330"/>
                  </a:cubicBezTo>
                  <a:cubicBezTo>
                    <a:pt x="8589" y="3252"/>
                    <a:pt x="8775" y="3099"/>
                    <a:pt x="8925" y="3099"/>
                  </a:cubicBezTo>
                  <a:cubicBezTo>
                    <a:pt x="9049" y="3099"/>
                    <a:pt x="9107" y="3177"/>
                    <a:pt x="9107" y="3288"/>
                  </a:cubicBezTo>
                  <a:cubicBezTo>
                    <a:pt x="9107" y="3916"/>
                    <a:pt x="9107" y="3916"/>
                    <a:pt x="9107" y="3916"/>
                  </a:cubicBezTo>
                  <a:cubicBezTo>
                    <a:pt x="9107" y="3954"/>
                    <a:pt x="9020" y="4037"/>
                    <a:pt x="8986" y="4037"/>
                  </a:cubicBezTo>
                  <a:cubicBezTo>
                    <a:pt x="8921" y="4037"/>
                    <a:pt x="8921" y="4037"/>
                    <a:pt x="8921" y="4037"/>
                  </a:cubicBezTo>
                  <a:cubicBezTo>
                    <a:pt x="8921" y="4124"/>
                    <a:pt x="8921" y="4124"/>
                    <a:pt x="8921" y="4124"/>
                  </a:cubicBezTo>
                  <a:cubicBezTo>
                    <a:pt x="9504" y="4124"/>
                    <a:pt x="9504" y="4124"/>
                    <a:pt x="9504" y="4124"/>
                  </a:cubicBezTo>
                  <a:cubicBezTo>
                    <a:pt x="9504" y="4037"/>
                    <a:pt x="9504" y="4037"/>
                    <a:pt x="9504" y="4037"/>
                  </a:cubicBezTo>
                  <a:cubicBezTo>
                    <a:pt x="9439" y="4037"/>
                    <a:pt x="9439" y="4037"/>
                    <a:pt x="9439" y="4037"/>
                  </a:cubicBezTo>
                  <a:cubicBezTo>
                    <a:pt x="9405" y="4037"/>
                    <a:pt x="9318" y="3954"/>
                    <a:pt x="9318" y="3916"/>
                  </a:cubicBezTo>
                  <a:cubicBezTo>
                    <a:pt x="9318" y="3323"/>
                    <a:pt x="9318" y="3323"/>
                    <a:pt x="9318" y="3323"/>
                  </a:cubicBezTo>
                  <a:cubicBezTo>
                    <a:pt x="9318" y="3246"/>
                    <a:pt x="9504" y="3101"/>
                    <a:pt x="9654" y="3101"/>
                  </a:cubicBezTo>
                  <a:cubicBezTo>
                    <a:pt x="9778" y="3101"/>
                    <a:pt x="9833" y="3178"/>
                    <a:pt x="9833" y="3289"/>
                  </a:cubicBezTo>
                  <a:cubicBezTo>
                    <a:pt x="9833" y="3917"/>
                    <a:pt x="9833" y="3917"/>
                    <a:pt x="9833" y="3917"/>
                  </a:cubicBezTo>
                  <a:cubicBezTo>
                    <a:pt x="9833" y="3954"/>
                    <a:pt x="9746" y="4037"/>
                    <a:pt x="9712" y="4037"/>
                  </a:cubicBezTo>
                  <a:close/>
                  <a:moveTo>
                    <a:pt x="7623" y="2957"/>
                  </a:moveTo>
                  <a:cubicBezTo>
                    <a:pt x="7320" y="2957"/>
                    <a:pt x="7051" y="3184"/>
                    <a:pt x="7051" y="3555"/>
                  </a:cubicBezTo>
                  <a:cubicBezTo>
                    <a:pt x="7051" y="3926"/>
                    <a:pt x="7320" y="4156"/>
                    <a:pt x="7623" y="4156"/>
                  </a:cubicBezTo>
                  <a:cubicBezTo>
                    <a:pt x="7925" y="4156"/>
                    <a:pt x="8192" y="3926"/>
                    <a:pt x="8192" y="3555"/>
                  </a:cubicBezTo>
                  <a:cubicBezTo>
                    <a:pt x="8192" y="3185"/>
                    <a:pt x="7925" y="2957"/>
                    <a:pt x="7623" y="2957"/>
                  </a:cubicBezTo>
                  <a:close/>
                  <a:moveTo>
                    <a:pt x="7962" y="3741"/>
                  </a:moveTo>
                  <a:cubicBezTo>
                    <a:pt x="7940" y="3920"/>
                    <a:pt x="7841" y="4044"/>
                    <a:pt x="7625" y="4044"/>
                  </a:cubicBezTo>
                  <a:cubicBezTo>
                    <a:pt x="7415" y="4044"/>
                    <a:pt x="7315" y="3916"/>
                    <a:pt x="7289" y="3739"/>
                  </a:cubicBezTo>
                  <a:cubicBezTo>
                    <a:pt x="7272" y="3613"/>
                    <a:pt x="7272" y="3485"/>
                    <a:pt x="7289" y="3359"/>
                  </a:cubicBezTo>
                  <a:cubicBezTo>
                    <a:pt x="7315" y="3177"/>
                    <a:pt x="7420" y="3056"/>
                    <a:pt x="7625" y="3056"/>
                  </a:cubicBezTo>
                  <a:cubicBezTo>
                    <a:pt x="7839" y="3056"/>
                    <a:pt x="7940" y="3177"/>
                    <a:pt x="7962" y="3361"/>
                  </a:cubicBezTo>
                  <a:cubicBezTo>
                    <a:pt x="7976" y="3487"/>
                    <a:pt x="7976" y="3615"/>
                    <a:pt x="7962" y="3741"/>
                  </a:cubicBezTo>
                  <a:close/>
                  <a:moveTo>
                    <a:pt x="13826" y="3916"/>
                  </a:moveTo>
                  <a:cubicBezTo>
                    <a:pt x="13826" y="3288"/>
                    <a:pt x="13826" y="3288"/>
                    <a:pt x="13826" y="3288"/>
                  </a:cubicBezTo>
                  <a:cubicBezTo>
                    <a:pt x="13826" y="3092"/>
                    <a:pt x="13685" y="2961"/>
                    <a:pt x="13509" y="2961"/>
                  </a:cubicBezTo>
                  <a:cubicBezTo>
                    <a:pt x="13303" y="2961"/>
                    <a:pt x="13196" y="3080"/>
                    <a:pt x="13058" y="3221"/>
                  </a:cubicBezTo>
                  <a:cubicBezTo>
                    <a:pt x="13016" y="2986"/>
                    <a:pt x="13016" y="2986"/>
                    <a:pt x="13016" y="2986"/>
                  </a:cubicBezTo>
                  <a:cubicBezTo>
                    <a:pt x="12654" y="2986"/>
                    <a:pt x="12654" y="2986"/>
                    <a:pt x="12654" y="2986"/>
                  </a:cubicBezTo>
                  <a:cubicBezTo>
                    <a:pt x="12654" y="3073"/>
                    <a:pt x="12654" y="3073"/>
                    <a:pt x="12654" y="3073"/>
                  </a:cubicBezTo>
                  <a:cubicBezTo>
                    <a:pt x="12724" y="3073"/>
                    <a:pt x="12724" y="3073"/>
                    <a:pt x="12724" y="3073"/>
                  </a:cubicBezTo>
                  <a:cubicBezTo>
                    <a:pt x="12758" y="3073"/>
                    <a:pt x="12850" y="3158"/>
                    <a:pt x="12850" y="3194"/>
                  </a:cubicBezTo>
                  <a:cubicBezTo>
                    <a:pt x="12850" y="3915"/>
                    <a:pt x="12850" y="3915"/>
                    <a:pt x="12850" y="3915"/>
                  </a:cubicBezTo>
                  <a:cubicBezTo>
                    <a:pt x="12850" y="3954"/>
                    <a:pt x="12758" y="4036"/>
                    <a:pt x="12724" y="4036"/>
                  </a:cubicBezTo>
                  <a:cubicBezTo>
                    <a:pt x="12586" y="4036"/>
                    <a:pt x="12586" y="4036"/>
                    <a:pt x="12586" y="4036"/>
                  </a:cubicBezTo>
                  <a:cubicBezTo>
                    <a:pt x="12555" y="4036"/>
                    <a:pt x="12460" y="3954"/>
                    <a:pt x="12460" y="3915"/>
                  </a:cubicBezTo>
                  <a:cubicBezTo>
                    <a:pt x="12460" y="3302"/>
                    <a:pt x="12460" y="3302"/>
                    <a:pt x="12460" y="3302"/>
                  </a:cubicBezTo>
                  <a:cubicBezTo>
                    <a:pt x="12460" y="3077"/>
                    <a:pt x="12267" y="2956"/>
                    <a:pt x="12020" y="2956"/>
                  </a:cubicBezTo>
                  <a:cubicBezTo>
                    <a:pt x="11787" y="2956"/>
                    <a:pt x="11639" y="3041"/>
                    <a:pt x="11545" y="3138"/>
                  </a:cubicBezTo>
                  <a:cubicBezTo>
                    <a:pt x="11698" y="3367"/>
                    <a:pt x="11698" y="3367"/>
                    <a:pt x="11698" y="3367"/>
                  </a:cubicBezTo>
                  <a:cubicBezTo>
                    <a:pt x="11780" y="3367"/>
                    <a:pt x="11780" y="3367"/>
                    <a:pt x="11780" y="3367"/>
                  </a:cubicBezTo>
                  <a:cubicBezTo>
                    <a:pt x="11695" y="3171"/>
                    <a:pt x="11773" y="3041"/>
                    <a:pt x="11969" y="3041"/>
                  </a:cubicBezTo>
                  <a:cubicBezTo>
                    <a:pt x="12175" y="3041"/>
                    <a:pt x="12252" y="3138"/>
                    <a:pt x="12250" y="3300"/>
                  </a:cubicBezTo>
                  <a:cubicBezTo>
                    <a:pt x="12247" y="3435"/>
                    <a:pt x="12247" y="3435"/>
                    <a:pt x="12247" y="3435"/>
                  </a:cubicBezTo>
                  <a:cubicBezTo>
                    <a:pt x="11952" y="3496"/>
                    <a:pt x="11952" y="3496"/>
                    <a:pt x="11952" y="3496"/>
                  </a:cubicBezTo>
                  <a:cubicBezTo>
                    <a:pt x="11790" y="3531"/>
                    <a:pt x="11578" y="3608"/>
                    <a:pt x="11578" y="3836"/>
                  </a:cubicBezTo>
                  <a:cubicBezTo>
                    <a:pt x="11578" y="4023"/>
                    <a:pt x="11714" y="4146"/>
                    <a:pt x="11871" y="4146"/>
                  </a:cubicBezTo>
                  <a:cubicBezTo>
                    <a:pt x="12041" y="4146"/>
                    <a:pt x="12162" y="4008"/>
                    <a:pt x="12254" y="3890"/>
                  </a:cubicBezTo>
                  <a:cubicBezTo>
                    <a:pt x="12283" y="4125"/>
                    <a:pt x="12283" y="4125"/>
                    <a:pt x="12283" y="4125"/>
                  </a:cubicBezTo>
                  <a:cubicBezTo>
                    <a:pt x="13251" y="4125"/>
                    <a:pt x="13251" y="4125"/>
                    <a:pt x="13251" y="4125"/>
                  </a:cubicBezTo>
                  <a:cubicBezTo>
                    <a:pt x="13251" y="4038"/>
                    <a:pt x="13251" y="4038"/>
                    <a:pt x="13251" y="4038"/>
                  </a:cubicBezTo>
                  <a:cubicBezTo>
                    <a:pt x="13186" y="4038"/>
                    <a:pt x="13186" y="4038"/>
                    <a:pt x="13186" y="4038"/>
                  </a:cubicBezTo>
                  <a:cubicBezTo>
                    <a:pt x="13152" y="4038"/>
                    <a:pt x="13060" y="3955"/>
                    <a:pt x="13060" y="3917"/>
                  </a:cubicBezTo>
                  <a:cubicBezTo>
                    <a:pt x="13060" y="3342"/>
                    <a:pt x="13060" y="3342"/>
                    <a:pt x="13060" y="3342"/>
                  </a:cubicBezTo>
                  <a:cubicBezTo>
                    <a:pt x="13060" y="3264"/>
                    <a:pt x="13271" y="3104"/>
                    <a:pt x="13433" y="3104"/>
                  </a:cubicBezTo>
                  <a:cubicBezTo>
                    <a:pt x="13557" y="3104"/>
                    <a:pt x="13615" y="3190"/>
                    <a:pt x="13615" y="3301"/>
                  </a:cubicBezTo>
                  <a:cubicBezTo>
                    <a:pt x="13615" y="3916"/>
                    <a:pt x="13615" y="3916"/>
                    <a:pt x="13615" y="3916"/>
                  </a:cubicBezTo>
                  <a:cubicBezTo>
                    <a:pt x="13615" y="3954"/>
                    <a:pt x="13523" y="4037"/>
                    <a:pt x="13489" y="4037"/>
                  </a:cubicBezTo>
                  <a:cubicBezTo>
                    <a:pt x="13423" y="4037"/>
                    <a:pt x="13423" y="4037"/>
                    <a:pt x="13423" y="4037"/>
                  </a:cubicBezTo>
                  <a:cubicBezTo>
                    <a:pt x="13423" y="4124"/>
                    <a:pt x="13423" y="4124"/>
                    <a:pt x="13423" y="4124"/>
                  </a:cubicBezTo>
                  <a:cubicBezTo>
                    <a:pt x="14022" y="4124"/>
                    <a:pt x="14022" y="4124"/>
                    <a:pt x="14022" y="4124"/>
                  </a:cubicBezTo>
                  <a:cubicBezTo>
                    <a:pt x="14022" y="4037"/>
                    <a:pt x="14022" y="4037"/>
                    <a:pt x="14022" y="4037"/>
                  </a:cubicBezTo>
                  <a:cubicBezTo>
                    <a:pt x="13952" y="4037"/>
                    <a:pt x="13952" y="4037"/>
                    <a:pt x="13952" y="4037"/>
                  </a:cubicBezTo>
                  <a:cubicBezTo>
                    <a:pt x="13918" y="4037"/>
                    <a:pt x="13826" y="3954"/>
                    <a:pt x="13826" y="3916"/>
                  </a:cubicBezTo>
                  <a:close/>
                  <a:moveTo>
                    <a:pt x="12250" y="3787"/>
                  </a:moveTo>
                  <a:cubicBezTo>
                    <a:pt x="12201" y="3873"/>
                    <a:pt x="12080" y="3988"/>
                    <a:pt x="11969" y="3988"/>
                  </a:cubicBezTo>
                  <a:cubicBezTo>
                    <a:pt x="11872" y="3993"/>
                    <a:pt x="11789" y="3918"/>
                    <a:pt x="11785" y="3820"/>
                  </a:cubicBezTo>
                  <a:cubicBezTo>
                    <a:pt x="11785" y="3816"/>
                    <a:pt x="11785" y="3811"/>
                    <a:pt x="11785" y="3807"/>
                  </a:cubicBezTo>
                  <a:cubicBezTo>
                    <a:pt x="11785" y="3693"/>
                    <a:pt x="11833" y="3618"/>
                    <a:pt x="11977" y="3582"/>
                  </a:cubicBezTo>
                  <a:cubicBezTo>
                    <a:pt x="12251" y="3511"/>
                    <a:pt x="12251" y="3511"/>
                    <a:pt x="12251" y="3511"/>
                  </a:cubicBezTo>
                  <a:lnTo>
                    <a:pt x="12250" y="3787"/>
                  </a:lnTo>
                  <a:close/>
                  <a:moveTo>
                    <a:pt x="8336" y="1790"/>
                  </a:moveTo>
                  <a:cubicBezTo>
                    <a:pt x="8617" y="1790"/>
                    <a:pt x="8765" y="1637"/>
                    <a:pt x="8840" y="1388"/>
                  </a:cubicBezTo>
                  <a:cubicBezTo>
                    <a:pt x="8769" y="1388"/>
                    <a:pt x="8769" y="1388"/>
                    <a:pt x="8769" y="1388"/>
                  </a:cubicBezTo>
                  <a:cubicBezTo>
                    <a:pt x="8697" y="1519"/>
                    <a:pt x="8605" y="1584"/>
                    <a:pt x="8411" y="1584"/>
                  </a:cubicBezTo>
                  <a:cubicBezTo>
                    <a:pt x="8152" y="1584"/>
                    <a:pt x="8002" y="1349"/>
                    <a:pt x="7997" y="1141"/>
                  </a:cubicBezTo>
                  <a:cubicBezTo>
                    <a:pt x="8758" y="1080"/>
                    <a:pt x="8758" y="1080"/>
                    <a:pt x="8758" y="1080"/>
                  </a:cubicBezTo>
                  <a:cubicBezTo>
                    <a:pt x="8753" y="997"/>
                    <a:pt x="8753" y="997"/>
                    <a:pt x="8753" y="997"/>
                  </a:cubicBezTo>
                  <a:cubicBezTo>
                    <a:pt x="8740" y="774"/>
                    <a:pt x="8595" y="600"/>
                    <a:pt x="8336" y="598"/>
                  </a:cubicBezTo>
                  <a:cubicBezTo>
                    <a:pt x="8041" y="595"/>
                    <a:pt x="7811" y="857"/>
                    <a:pt x="7811" y="1196"/>
                  </a:cubicBezTo>
                  <a:cubicBezTo>
                    <a:pt x="7811" y="1519"/>
                    <a:pt x="8033" y="1790"/>
                    <a:pt x="8336" y="1790"/>
                  </a:cubicBezTo>
                  <a:close/>
                  <a:moveTo>
                    <a:pt x="8331" y="686"/>
                  </a:moveTo>
                  <a:cubicBezTo>
                    <a:pt x="8554" y="686"/>
                    <a:pt x="8578" y="850"/>
                    <a:pt x="8559" y="1013"/>
                  </a:cubicBezTo>
                  <a:cubicBezTo>
                    <a:pt x="7990" y="1061"/>
                    <a:pt x="7990" y="1061"/>
                    <a:pt x="7990" y="1061"/>
                  </a:cubicBezTo>
                  <a:cubicBezTo>
                    <a:pt x="7997" y="882"/>
                    <a:pt x="8094" y="686"/>
                    <a:pt x="8331" y="686"/>
                  </a:cubicBezTo>
                  <a:close/>
                  <a:moveTo>
                    <a:pt x="8947" y="843"/>
                  </a:moveTo>
                  <a:cubicBezTo>
                    <a:pt x="9349" y="1635"/>
                    <a:pt x="9349" y="1635"/>
                    <a:pt x="9349" y="1635"/>
                  </a:cubicBezTo>
                  <a:cubicBezTo>
                    <a:pt x="9005" y="2259"/>
                    <a:pt x="9005" y="2259"/>
                    <a:pt x="9005" y="2259"/>
                  </a:cubicBezTo>
                  <a:cubicBezTo>
                    <a:pt x="9105" y="2310"/>
                    <a:pt x="9105" y="2310"/>
                    <a:pt x="9105" y="2310"/>
                  </a:cubicBezTo>
                  <a:cubicBezTo>
                    <a:pt x="9444" y="1669"/>
                    <a:pt x="9444" y="1669"/>
                    <a:pt x="9444" y="1669"/>
                  </a:cubicBezTo>
                  <a:cubicBezTo>
                    <a:pt x="9828" y="839"/>
                    <a:pt x="9828" y="839"/>
                    <a:pt x="9828" y="839"/>
                  </a:cubicBezTo>
                  <a:cubicBezTo>
                    <a:pt x="9853" y="800"/>
                    <a:pt x="9935" y="713"/>
                    <a:pt x="9962" y="713"/>
                  </a:cubicBezTo>
                  <a:cubicBezTo>
                    <a:pt x="10015" y="713"/>
                    <a:pt x="10015" y="713"/>
                    <a:pt x="10015" y="713"/>
                  </a:cubicBezTo>
                  <a:cubicBezTo>
                    <a:pt x="10015" y="626"/>
                    <a:pt x="10015" y="626"/>
                    <a:pt x="10015" y="626"/>
                  </a:cubicBezTo>
                  <a:cubicBezTo>
                    <a:pt x="9553" y="626"/>
                    <a:pt x="9553" y="626"/>
                    <a:pt x="9553" y="626"/>
                  </a:cubicBezTo>
                  <a:cubicBezTo>
                    <a:pt x="9553" y="713"/>
                    <a:pt x="9553" y="713"/>
                    <a:pt x="9553" y="713"/>
                  </a:cubicBezTo>
                  <a:cubicBezTo>
                    <a:pt x="9623" y="713"/>
                    <a:pt x="9623" y="713"/>
                    <a:pt x="9623" y="713"/>
                  </a:cubicBezTo>
                  <a:cubicBezTo>
                    <a:pt x="9654" y="713"/>
                    <a:pt x="9725" y="793"/>
                    <a:pt x="9722" y="839"/>
                  </a:cubicBezTo>
                  <a:cubicBezTo>
                    <a:pt x="9470" y="1398"/>
                    <a:pt x="9470" y="1398"/>
                    <a:pt x="9470" y="1398"/>
                  </a:cubicBezTo>
                  <a:cubicBezTo>
                    <a:pt x="9194" y="836"/>
                    <a:pt x="9194" y="836"/>
                    <a:pt x="9194" y="836"/>
                  </a:cubicBezTo>
                  <a:cubicBezTo>
                    <a:pt x="9194" y="794"/>
                    <a:pt x="9262" y="713"/>
                    <a:pt x="9293" y="713"/>
                  </a:cubicBezTo>
                  <a:cubicBezTo>
                    <a:pt x="9364" y="713"/>
                    <a:pt x="9364" y="713"/>
                    <a:pt x="9364" y="713"/>
                  </a:cubicBezTo>
                  <a:cubicBezTo>
                    <a:pt x="9364" y="626"/>
                    <a:pt x="9364" y="626"/>
                    <a:pt x="9364" y="626"/>
                  </a:cubicBezTo>
                  <a:cubicBezTo>
                    <a:pt x="8749" y="626"/>
                    <a:pt x="8749" y="626"/>
                    <a:pt x="8749" y="626"/>
                  </a:cubicBezTo>
                  <a:cubicBezTo>
                    <a:pt x="8749" y="713"/>
                    <a:pt x="8749" y="713"/>
                    <a:pt x="8749" y="713"/>
                  </a:cubicBezTo>
                  <a:cubicBezTo>
                    <a:pt x="8800" y="713"/>
                    <a:pt x="8800" y="713"/>
                    <a:pt x="8800" y="713"/>
                  </a:cubicBezTo>
                  <a:cubicBezTo>
                    <a:pt x="8829" y="712"/>
                    <a:pt x="8928" y="807"/>
                    <a:pt x="8947" y="843"/>
                  </a:cubicBezTo>
                  <a:close/>
                  <a:moveTo>
                    <a:pt x="5117" y="349"/>
                  </a:moveTo>
                  <a:cubicBezTo>
                    <a:pt x="5195" y="353"/>
                    <a:pt x="5261" y="293"/>
                    <a:pt x="5265" y="215"/>
                  </a:cubicBezTo>
                  <a:cubicBezTo>
                    <a:pt x="5265" y="210"/>
                    <a:pt x="5265" y="206"/>
                    <a:pt x="5265" y="201"/>
                  </a:cubicBezTo>
                  <a:cubicBezTo>
                    <a:pt x="5265" y="112"/>
                    <a:pt x="5202" y="56"/>
                    <a:pt x="5117" y="56"/>
                  </a:cubicBezTo>
                  <a:cubicBezTo>
                    <a:pt x="5032" y="56"/>
                    <a:pt x="4967" y="112"/>
                    <a:pt x="4967" y="201"/>
                  </a:cubicBezTo>
                  <a:cubicBezTo>
                    <a:pt x="4965" y="280"/>
                    <a:pt x="5026" y="346"/>
                    <a:pt x="5105" y="349"/>
                  </a:cubicBezTo>
                  <a:cubicBezTo>
                    <a:pt x="5109" y="349"/>
                    <a:pt x="5113" y="349"/>
                    <a:pt x="5117" y="349"/>
                  </a:cubicBezTo>
                  <a:close/>
                  <a:moveTo>
                    <a:pt x="3836" y="1676"/>
                  </a:moveTo>
                  <a:cubicBezTo>
                    <a:pt x="3749" y="1676"/>
                    <a:pt x="3749" y="1676"/>
                    <a:pt x="3749" y="1676"/>
                  </a:cubicBezTo>
                  <a:cubicBezTo>
                    <a:pt x="3715" y="1676"/>
                    <a:pt x="3613" y="1579"/>
                    <a:pt x="3613" y="1543"/>
                  </a:cubicBezTo>
                  <a:cubicBezTo>
                    <a:pt x="3613" y="1075"/>
                    <a:pt x="3613" y="1075"/>
                    <a:pt x="3613" y="1075"/>
                  </a:cubicBezTo>
                  <a:cubicBezTo>
                    <a:pt x="3793" y="882"/>
                    <a:pt x="3793" y="882"/>
                    <a:pt x="3793" y="882"/>
                  </a:cubicBezTo>
                  <a:cubicBezTo>
                    <a:pt x="4403" y="1763"/>
                    <a:pt x="4403" y="1763"/>
                    <a:pt x="4403" y="1763"/>
                  </a:cubicBezTo>
                  <a:cubicBezTo>
                    <a:pt x="6040" y="1763"/>
                    <a:pt x="6040" y="1763"/>
                    <a:pt x="6040" y="1763"/>
                  </a:cubicBezTo>
                  <a:cubicBezTo>
                    <a:pt x="6040" y="1676"/>
                    <a:pt x="6040" y="1676"/>
                    <a:pt x="6040" y="1676"/>
                  </a:cubicBezTo>
                  <a:cubicBezTo>
                    <a:pt x="5974" y="1676"/>
                    <a:pt x="5974" y="1676"/>
                    <a:pt x="5974" y="1676"/>
                  </a:cubicBezTo>
                  <a:cubicBezTo>
                    <a:pt x="5940" y="1676"/>
                    <a:pt x="5848" y="1594"/>
                    <a:pt x="5848" y="1555"/>
                  </a:cubicBezTo>
                  <a:cubicBezTo>
                    <a:pt x="5848" y="981"/>
                    <a:pt x="5848" y="981"/>
                    <a:pt x="5848" y="981"/>
                  </a:cubicBezTo>
                  <a:cubicBezTo>
                    <a:pt x="5848" y="904"/>
                    <a:pt x="6059" y="744"/>
                    <a:pt x="6221" y="744"/>
                  </a:cubicBezTo>
                  <a:cubicBezTo>
                    <a:pt x="6345" y="744"/>
                    <a:pt x="6403" y="829"/>
                    <a:pt x="6403" y="940"/>
                  </a:cubicBezTo>
                  <a:cubicBezTo>
                    <a:pt x="6403" y="1555"/>
                    <a:pt x="6403" y="1555"/>
                    <a:pt x="6403" y="1555"/>
                  </a:cubicBezTo>
                  <a:cubicBezTo>
                    <a:pt x="6403" y="1594"/>
                    <a:pt x="6311" y="1676"/>
                    <a:pt x="6277" y="1676"/>
                  </a:cubicBezTo>
                  <a:cubicBezTo>
                    <a:pt x="6211" y="1676"/>
                    <a:pt x="6211" y="1676"/>
                    <a:pt x="6211" y="1676"/>
                  </a:cubicBezTo>
                  <a:cubicBezTo>
                    <a:pt x="6211" y="1763"/>
                    <a:pt x="6211" y="1763"/>
                    <a:pt x="6211" y="1763"/>
                  </a:cubicBezTo>
                  <a:cubicBezTo>
                    <a:pt x="6810" y="1763"/>
                    <a:pt x="6810" y="1763"/>
                    <a:pt x="6810" y="1763"/>
                  </a:cubicBezTo>
                  <a:cubicBezTo>
                    <a:pt x="6810" y="1676"/>
                    <a:pt x="6810" y="1676"/>
                    <a:pt x="6810" y="1676"/>
                  </a:cubicBezTo>
                  <a:cubicBezTo>
                    <a:pt x="6739" y="1676"/>
                    <a:pt x="6739" y="1676"/>
                    <a:pt x="6739" y="1676"/>
                  </a:cubicBezTo>
                  <a:cubicBezTo>
                    <a:pt x="6706" y="1676"/>
                    <a:pt x="6613" y="1594"/>
                    <a:pt x="6613" y="1555"/>
                  </a:cubicBezTo>
                  <a:cubicBezTo>
                    <a:pt x="6613" y="928"/>
                    <a:pt x="6613" y="928"/>
                    <a:pt x="6613" y="928"/>
                  </a:cubicBezTo>
                  <a:cubicBezTo>
                    <a:pt x="6613" y="732"/>
                    <a:pt x="6473" y="601"/>
                    <a:pt x="6296" y="601"/>
                  </a:cubicBezTo>
                  <a:cubicBezTo>
                    <a:pt x="6091" y="601"/>
                    <a:pt x="5984" y="720"/>
                    <a:pt x="5846" y="860"/>
                  </a:cubicBezTo>
                  <a:cubicBezTo>
                    <a:pt x="5803" y="625"/>
                    <a:pt x="5803" y="625"/>
                    <a:pt x="5803" y="625"/>
                  </a:cubicBezTo>
                  <a:cubicBezTo>
                    <a:pt x="5441" y="625"/>
                    <a:pt x="5441" y="625"/>
                    <a:pt x="5441" y="625"/>
                  </a:cubicBezTo>
                  <a:cubicBezTo>
                    <a:pt x="5441" y="712"/>
                    <a:pt x="5441" y="712"/>
                    <a:pt x="5441" y="712"/>
                  </a:cubicBezTo>
                  <a:cubicBezTo>
                    <a:pt x="5512" y="712"/>
                    <a:pt x="5512" y="712"/>
                    <a:pt x="5512" y="712"/>
                  </a:cubicBezTo>
                  <a:cubicBezTo>
                    <a:pt x="5546" y="712"/>
                    <a:pt x="5638" y="798"/>
                    <a:pt x="5638" y="833"/>
                  </a:cubicBezTo>
                  <a:cubicBezTo>
                    <a:pt x="5638" y="1555"/>
                    <a:pt x="5638" y="1555"/>
                    <a:pt x="5638" y="1555"/>
                  </a:cubicBezTo>
                  <a:cubicBezTo>
                    <a:pt x="5638" y="1593"/>
                    <a:pt x="5546" y="1676"/>
                    <a:pt x="5512" y="1676"/>
                  </a:cubicBezTo>
                  <a:cubicBezTo>
                    <a:pt x="5371" y="1676"/>
                    <a:pt x="5371" y="1676"/>
                    <a:pt x="5371" y="1676"/>
                  </a:cubicBezTo>
                  <a:cubicBezTo>
                    <a:pt x="5340" y="1676"/>
                    <a:pt x="5245" y="1593"/>
                    <a:pt x="5245" y="1555"/>
                  </a:cubicBezTo>
                  <a:cubicBezTo>
                    <a:pt x="5245" y="625"/>
                    <a:pt x="5245" y="625"/>
                    <a:pt x="5245" y="625"/>
                  </a:cubicBezTo>
                  <a:cubicBezTo>
                    <a:pt x="4836" y="625"/>
                    <a:pt x="4836" y="625"/>
                    <a:pt x="4836" y="625"/>
                  </a:cubicBezTo>
                  <a:cubicBezTo>
                    <a:pt x="4836" y="712"/>
                    <a:pt x="4836" y="712"/>
                    <a:pt x="4836" y="712"/>
                  </a:cubicBezTo>
                  <a:cubicBezTo>
                    <a:pt x="4906" y="712"/>
                    <a:pt x="4906" y="712"/>
                    <a:pt x="4906" y="712"/>
                  </a:cubicBezTo>
                  <a:cubicBezTo>
                    <a:pt x="4940" y="712"/>
                    <a:pt x="5032" y="798"/>
                    <a:pt x="5032" y="833"/>
                  </a:cubicBezTo>
                  <a:cubicBezTo>
                    <a:pt x="5032" y="1555"/>
                    <a:pt x="5032" y="1555"/>
                    <a:pt x="5032" y="1555"/>
                  </a:cubicBezTo>
                  <a:cubicBezTo>
                    <a:pt x="5032" y="1594"/>
                    <a:pt x="4940" y="1676"/>
                    <a:pt x="4906" y="1676"/>
                  </a:cubicBezTo>
                  <a:cubicBezTo>
                    <a:pt x="4778" y="1676"/>
                    <a:pt x="4778" y="1676"/>
                    <a:pt x="4778" y="1676"/>
                  </a:cubicBezTo>
                  <a:cubicBezTo>
                    <a:pt x="4742" y="1676"/>
                    <a:pt x="4599" y="1567"/>
                    <a:pt x="4570" y="1528"/>
                  </a:cubicBezTo>
                  <a:cubicBezTo>
                    <a:pt x="3953" y="707"/>
                    <a:pt x="3953" y="707"/>
                    <a:pt x="3953" y="707"/>
                  </a:cubicBezTo>
                  <a:cubicBezTo>
                    <a:pt x="4381" y="247"/>
                    <a:pt x="4381" y="247"/>
                    <a:pt x="4381" y="247"/>
                  </a:cubicBezTo>
                  <a:cubicBezTo>
                    <a:pt x="4405" y="221"/>
                    <a:pt x="4572" y="88"/>
                    <a:pt x="4606" y="88"/>
                  </a:cubicBezTo>
                  <a:cubicBezTo>
                    <a:pt x="4692" y="88"/>
                    <a:pt x="4692" y="88"/>
                    <a:pt x="4692" y="88"/>
                  </a:cubicBezTo>
                  <a:cubicBezTo>
                    <a:pt x="4692" y="0"/>
                    <a:pt x="4692" y="0"/>
                    <a:pt x="4692" y="0"/>
                  </a:cubicBezTo>
                  <a:cubicBezTo>
                    <a:pt x="4052" y="0"/>
                    <a:pt x="4052" y="0"/>
                    <a:pt x="4052" y="0"/>
                  </a:cubicBezTo>
                  <a:cubicBezTo>
                    <a:pt x="4052" y="88"/>
                    <a:pt x="4052" y="88"/>
                    <a:pt x="4052" y="88"/>
                  </a:cubicBezTo>
                  <a:cubicBezTo>
                    <a:pt x="4137" y="88"/>
                    <a:pt x="4137" y="88"/>
                    <a:pt x="4137" y="88"/>
                  </a:cubicBezTo>
                  <a:cubicBezTo>
                    <a:pt x="4171" y="88"/>
                    <a:pt x="4270" y="209"/>
                    <a:pt x="4244" y="240"/>
                  </a:cubicBezTo>
                  <a:cubicBezTo>
                    <a:pt x="3614" y="942"/>
                    <a:pt x="3614" y="942"/>
                    <a:pt x="3614" y="942"/>
                  </a:cubicBezTo>
                  <a:cubicBezTo>
                    <a:pt x="3614" y="221"/>
                    <a:pt x="3614" y="221"/>
                    <a:pt x="3614" y="221"/>
                  </a:cubicBezTo>
                  <a:cubicBezTo>
                    <a:pt x="3614" y="184"/>
                    <a:pt x="3716" y="88"/>
                    <a:pt x="3750" y="88"/>
                  </a:cubicBezTo>
                  <a:cubicBezTo>
                    <a:pt x="3837" y="88"/>
                    <a:pt x="3837" y="88"/>
                    <a:pt x="3837" y="88"/>
                  </a:cubicBezTo>
                  <a:cubicBezTo>
                    <a:pt x="3837" y="0"/>
                    <a:pt x="3837" y="0"/>
                    <a:pt x="3837" y="0"/>
                  </a:cubicBezTo>
                  <a:cubicBezTo>
                    <a:pt x="3149" y="0"/>
                    <a:pt x="3149" y="0"/>
                    <a:pt x="3149" y="0"/>
                  </a:cubicBezTo>
                  <a:cubicBezTo>
                    <a:pt x="3149" y="88"/>
                    <a:pt x="3149" y="88"/>
                    <a:pt x="3149" y="88"/>
                  </a:cubicBezTo>
                  <a:cubicBezTo>
                    <a:pt x="3236" y="88"/>
                    <a:pt x="3236" y="88"/>
                    <a:pt x="3236" y="88"/>
                  </a:cubicBezTo>
                  <a:cubicBezTo>
                    <a:pt x="3270" y="88"/>
                    <a:pt x="3371" y="184"/>
                    <a:pt x="3371" y="221"/>
                  </a:cubicBezTo>
                  <a:cubicBezTo>
                    <a:pt x="3371" y="1543"/>
                    <a:pt x="3371" y="1543"/>
                    <a:pt x="3371" y="1543"/>
                  </a:cubicBezTo>
                  <a:cubicBezTo>
                    <a:pt x="3371" y="1579"/>
                    <a:pt x="3270" y="1676"/>
                    <a:pt x="3236" y="1676"/>
                  </a:cubicBezTo>
                  <a:cubicBezTo>
                    <a:pt x="3149" y="1676"/>
                    <a:pt x="3149" y="1676"/>
                    <a:pt x="3149" y="1676"/>
                  </a:cubicBezTo>
                  <a:cubicBezTo>
                    <a:pt x="3149" y="1763"/>
                    <a:pt x="3149" y="1763"/>
                    <a:pt x="3149" y="1763"/>
                  </a:cubicBezTo>
                  <a:cubicBezTo>
                    <a:pt x="3836" y="1763"/>
                    <a:pt x="3836" y="1763"/>
                    <a:pt x="3836" y="1763"/>
                  </a:cubicBezTo>
                  <a:lnTo>
                    <a:pt x="3836" y="1676"/>
                  </a:lnTo>
                  <a:close/>
                  <a:moveTo>
                    <a:pt x="7720" y="1446"/>
                  </a:moveTo>
                  <a:cubicBezTo>
                    <a:pt x="7720" y="1262"/>
                    <a:pt x="7579" y="1163"/>
                    <a:pt x="7456" y="1114"/>
                  </a:cubicBezTo>
                  <a:cubicBezTo>
                    <a:pt x="7361" y="1078"/>
                    <a:pt x="7296" y="1049"/>
                    <a:pt x="7209" y="1013"/>
                  </a:cubicBezTo>
                  <a:cubicBezTo>
                    <a:pt x="7090" y="962"/>
                    <a:pt x="7023" y="927"/>
                    <a:pt x="7023" y="829"/>
                  </a:cubicBezTo>
                  <a:cubicBezTo>
                    <a:pt x="7023" y="739"/>
                    <a:pt x="7085" y="683"/>
                    <a:pt x="7219" y="683"/>
                  </a:cubicBezTo>
                  <a:cubicBezTo>
                    <a:pt x="7432" y="683"/>
                    <a:pt x="7565" y="884"/>
                    <a:pt x="7565" y="979"/>
                  </a:cubicBezTo>
                  <a:cubicBezTo>
                    <a:pt x="7635" y="979"/>
                    <a:pt x="7635" y="979"/>
                    <a:pt x="7635" y="979"/>
                  </a:cubicBezTo>
                  <a:cubicBezTo>
                    <a:pt x="7635" y="625"/>
                    <a:pt x="7635" y="625"/>
                    <a:pt x="7635" y="625"/>
                  </a:cubicBezTo>
                  <a:cubicBezTo>
                    <a:pt x="7572" y="625"/>
                    <a:pt x="7572" y="625"/>
                    <a:pt x="7572" y="625"/>
                  </a:cubicBezTo>
                  <a:cubicBezTo>
                    <a:pt x="7562" y="649"/>
                    <a:pt x="7543" y="657"/>
                    <a:pt x="7509" y="657"/>
                  </a:cubicBezTo>
                  <a:cubicBezTo>
                    <a:pt x="7422" y="657"/>
                    <a:pt x="7352" y="598"/>
                    <a:pt x="7226" y="598"/>
                  </a:cubicBezTo>
                  <a:cubicBezTo>
                    <a:pt x="7015" y="598"/>
                    <a:pt x="6882" y="707"/>
                    <a:pt x="6882" y="913"/>
                  </a:cubicBezTo>
                  <a:cubicBezTo>
                    <a:pt x="6882" y="1071"/>
                    <a:pt x="6986" y="1160"/>
                    <a:pt x="7124" y="1223"/>
                  </a:cubicBezTo>
                  <a:cubicBezTo>
                    <a:pt x="7216" y="1264"/>
                    <a:pt x="7282" y="1291"/>
                    <a:pt x="7361" y="1325"/>
                  </a:cubicBezTo>
                  <a:cubicBezTo>
                    <a:pt x="7463" y="1367"/>
                    <a:pt x="7577" y="1412"/>
                    <a:pt x="7577" y="1540"/>
                  </a:cubicBezTo>
                  <a:cubicBezTo>
                    <a:pt x="7577" y="1647"/>
                    <a:pt x="7497" y="1695"/>
                    <a:pt x="7354" y="1695"/>
                  </a:cubicBezTo>
                  <a:cubicBezTo>
                    <a:pt x="7107" y="1695"/>
                    <a:pt x="6952" y="1468"/>
                    <a:pt x="6952" y="1361"/>
                  </a:cubicBezTo>
                  <a:cubicBezTo>
                    <a:pt x="6882" y="1361"/>
                    <a:pt x="6882" y="1361"/>
                    <a:pt x="6882" y="1361"/>
                  </a:cubicBezTo>
                  <a:cubicBezTo>
                    <a:pt x="6882" y="1763"/>
                    <a:pt x="6882" y="1763"/>
                    <a:pt x="6882" y="1763"/>
                  </a:cubicBezTo>
                  <a:cubicBezTo>
                    <a:pt x="6938" y="1763"/>
                    <a:pt x="6938" y="1763"/>
                    <a:pt x="6938" y="1763"/>
                  </a:cubicBezTo>
                  <a:cubicBezTo>
                    <a:pt x="6967" y="1737"/>
                    <a:pt x="6979" y="1725"/>
                    <a:pt x="7025" y="1725"/>
                  </a:cubicBezTo>
                  <a:cubicBezTo>
                    <a:pt x="7124" y="1725"/>
                    <a:pt x="7209" y="1790"/>
                    <a:pt x="7354" y="1790"/>
                  </a:cubicBezTo>
                  <a:cubicBezTo>
                    <a:pt x="7570" y="1790"/>
                    <a:pt x="7720" y="1664"/>
                    <a:pt x="7720" y="1446"/>
                  </a:cubicBezTo>
                  <a:close/>
                  <a:moveTo>
                    <a:pt x="2703" y="1584"/>
                  </a:moveTo>
                  <a:cubicBezTo>
                    <a:pt x="2442" y="1584"/>
                    <a:pt x="2282" y="1383"/>
                    <a:pt x="2282" y="1129"/>
                  </a:cubicBezTo>
                  <a:cubicBezTo>
                    <a:pt x="2282" y="860"/>
                    <a:pt x="2391" y="683"/>
                    <a:pt x="2618" y="683"/>
                  </a:cubicBezTo>
                  <a:cubicBezTo>
                    <a:pt x="2815" y="683"/>
                    <a:pt x="2844" y="840"/>
                    <a:pt x="2812" y="1017"/>
                  </a:cubicBezTo>
                  <a:cubicBezTo>
                    <a:pt x="2882" y="1013"/>
                    <a:pt x="2882" y="1013"/>
                    <a:pt x="2882" y="1013"/>
                  </a:cubicBezTo>
                  <a:cubicBezTo>
                    <a:pt x="3049" y="753"/>
                    <a:pt x="3049" y="753"/>
                    <a:pt x="3049" y="753"/>
                  </a:cubicBezTo>
                  <a:cubicBezTo>
                    <a:pt x="2945" y="649"/>
                    <a:pt x="2824" y="596"/>
                    <a:pt x="2645" y="596"/>
                  </a:cubicBezTo>
                  <a:cubicBezTo>
                    <a:pt x="2345" y="596"/>
                    <a:pt x="2100" y="833"/>
                    <a:pt x="2100" y="1201"/>
                  </a:cubicBezTo>
                  <a:cubicBezTo>
                    <a:pt x="2100" y="1526"/>
                    <a:pt x="2306" y="1792"/>
                    <a:pt x="2623" y="1792"/>
                  </a:cubicBezTo>
                  <a:cubicBezTo>
                    <a:pt x="2909" y="1792"/>
                    <a:pt x="3061" y="1635"/>
                    <a:pt x="3136" y="1386"/>
                  </a:cubicBezTo>
                  <a:cubicBezTo>
                    <a:pt x="3066" y="1386"/>
                    <a:pt x="3066" y="1386"/>
                    <a:pt x="3066" y="1386"/>
                  </a:cubicBezTo>
                  <a:cubicBezTo>
                    <a:pt x="2986" y="1519"/>
                    <a:pt x="2902" y="1584"/>
                    <a:pt x="2703" y="1584"/>
                  </a:cubicBezTo>
                  <a:close/>
                  <a:moveTo>
                    <a:pt x="1053" y="1322"/>
                  </a:moveTo>
                  <a:cubicBezTo>
                    <a:pt x="1041" y="1322"/>
                    <a:pt x="1041" y="1322"/>
                    <a:pt x="1041" y="1322"/>
                  </a:cubicBezTo>
                  <a:cubicBezTo>
                    <a:pt x="511" y="0"/>
                    <a:pt x="511" y="0"/>
                    <a:pt x="51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87" y="88"/>
                    <a:pt x="87" y="88"/>
                    <a:pt x="87" y="88"/>
                  </a:cubicBezTo>
                  <a:cubicBezTo>
                    <a:pt x="121" y="88"/>
                    <a:pt x="223" y="184"/>
                    <a:pt x="223" y="221"/>
                  </a:cubicBezTo>
                  <a:cubicBezTo>
                    <a:pt x="223" y="1543"/>
                    <a:pt x="223" y="1543"/>
                    <a:pt x="223" y="1543"/>
                  </a:cubicBezTo>
                  <a:cubicBezTo>
                    <a:pt x="223" y="1579"/>
                    <a:pt x="121" y="1676"/>
                    <a:pt x="87" y="1676"/>
                  </a:cubicBezTo>
                  <a:cubicBezTo>
                    <a:pt x="0" y="1676"/>
                    <a:pt x="0" y="1676"/>
                    <a:pt x="0" y="1676"/>
                  </a:cubicBezTo>
                  <a:cubicBezTo>
                    <a:pt x="0" y="1763"/>
                    <a:pt x="0" y="1763"/>
                    <a:pt x="0" y="1763"/>
                  </a:cubicBezTo>
                  <a:cubicBezTo>
                    <a:pt x="549" y="1763"/>
                    <a:pt x="549" y="1763"/>
                    <a:pt x="549" y="1763"/>
                  </a:cubicBezTo>
                  <a:cubicBezTo>
                    <a:pt x="549" y="1676"/>
                    <a:pt x="549" y="1676"/>
                    <a:pt x="549" y="1676"/>
                  </a:cubicBezTo>
                  <a:cubicBezTo>
                    <a:pt x="462" y="1676"/>
                    <a:pt x="462" y="1676"/>
                    <a:pt x="462" y="1676"/>
                  </a:cubicBezTo>
                  <a:cubicBezTo>
                    <a:pt x="428" y="1676"/>
                    <a:pt x="327" y="1579"/>
                    <a:pt x="327" y="1543"/>
                  </a:cubicBezTo>
                  <a:cubicBezTo>
                    <a:pt x="327" y="233"/>
                    <a:pt x="327" y="233"/>
                    <a:pt x="327" y="233"/>
                  </a:cubicBezTo>
                  <a:cubicBezTo>
                    <a:pt x="968" y="1794"/>
                    <a:pt x="968" y="1794"/>
                    <a:pt x="968" y="1794"/>
                  </a:cubicBezTo>
                  <a:cubicBezTo>
                    <a:pt x="1609" y="259"/>
                    <a:pt x="1609" y="259"/>
                    <a:pt x="1609" y="259"/>
                  </a:cubicBezTo>
                  <a:cubicBezTo>
                    <a:pt x="1609" y="1543"/>
                    <a:pt x="1609" y="1543"/>
                    <a:pt x="1609" y="1543"/>
                  </a:cubicBezTo>
                  <a:cubicBezTo>
                    <a:pt x="1609" y="1579"/>
                    <a:pt x="1507" y="1676"/>
                    <a:pt x="1473" y="1676"/>
                  </a:cubicBezTo>
                  <a:cubicBezTo>
                    <a:pt x="1386" y="1676"/>
                    <a:pt x="1386" y="1676"/>
                    <a:pt x="1386" y="1676"/>
                  </a:cubicBezTo>
                  <a:cubicBezTo>
                    <a:pt x="1386" y="1763"/>
                    <a:pt x="1386" y="1763"/>
                    <a:pt x="1386" y="1763"/>
                  </a:cubicBezTo>
                  <a:cubicBezTo>
                    <a:pt x="2069" y="1763"/>
                    <a:pt x="2069" y="1763"/>
                    <a:pt x="2069" y="1763"/>
                  </a:cubicBezTo>
                  <a:cubicBezTo>
                    <a:pt x="2069" y="1676"/>
                    <a:pt x="2069" y="1676"/>
                    <a:pt x="2069" y="1676"/>
                  </a:cubicBezTo>
                  <a:cubicBezTo>
                    <a:pt x="1983" y="1676"/>
                    <a:pt x="1983" y="1676"/>
                    <a:pt x="1983" y="1676"/>
                  </a:cubicBezTo>
                  <a:cubicBezTo>
                    <a:pt x="1949" y="1676"/>
                    <a:pt x="1848" y="1579"/>
                    <a:pt x="1848" y="1543"/>
                  </a:cubicBezTo>
                  <a:cubicBezTo>
                    <a:pt x="1848" y="221"/>
                    <a:pt x="1848" y="221"/>
                    <a:pt x="1848" y="221"/>
                  </a:cubicBezTo>
                  <a:cubicBezTo>
                    <a:pt x="1848" y="184"/>
                    <a:pt x="1949" y="88"/>
                    <a:pt x="1983" y="88"/>
                  </a:cubicBezTo>
                  <a:cubicBezTo>
                    <a:pt x="2070" y="88"/>
                    <a:pt x="2070" y="88"/>
                    <a:pt x="2070" y="88"/>
                  </a:cubicBezTo>
                  <a:cubicBezTo>
                    <a:pt x="2070" y="0"/>
                    <a:pt x="2070" y="0"/>
                    <a:pt x="2070" y="0"/>
                  </a:cubicBezTo>
                  <a:cubicBezTo>
                    <a:pt x="1610" y="0"/>
                    <a:pt x="1610" y="0"/>
                    <a:pt x="1610" y="0"/>
                  </a:cubicBezTo>
                  <a:lnTo>
                    <a:pt x="1053" y="1322"/>
                  </a:lnTo>
                  <a:close/>
                </a:path>
              </a:pathLst>
            </a:custGeom>
            <a:solidFill>
              <a:srgbClr val="11273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anose="020B0604020202020204" pitchFamily="34" charset="0"/>
              </a:endParaRPr>
            </a:p>
          </p:txBody>
        </p:sp>
      </p:grpSp>
      <p:sp>
        <p:nvSpPr>
          <p:cNvPr id="3" name="ClientLogo">
            <a:extLst>
              <a:ext uri="{FF2B5EF4-FFF2-40B4-BE49-F238E27FC236}">
                <a16:creationId xmlns:a16="http://schemas.microsoft.com/office/drawing/2014/main" id="{0D1A260D-45D1-4D8D-ACC4-246C7DD9AFAD}"/>
              </a:ext>
            </a:extLst>
          </p:cNvPr>
          <p:cNvSpPr>
            <a:spLocks noGrp="1"/>
          </p:cNvSpPr>
          <p:nvPr>
            <p:ph type="pic" sz="quarter" idx="14" hasCustomPrompt="1"/>
            <p:custDataLst>
              <p:tags r:id="rId5"/>
            </p:custDataLst>
          </p:nvPr>
        </p:nvSpPr>
        <p:spPr>
          <a:xfrm>
            <a:off x="551942" y="4984025"/>
            <a:ext cx="1901952" cy="969264"/>
          </a:xfrm>
          <a:prstGeom prst="rect">
            <a:avLst/>
          </a:prstGeom>
        </p:spPr>
        <p:txBody>
          <a:bodyPr>
            <a:noAutofit/>
          </a:bodyPr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ent logo goes here.</a:t>
            </a:r>
          </a:p>
        </p:txBody>
      </p:sp>
      <p:sp>
        <p:nvSpPr>
          <p:cNvPr id="15" name="Documenttype">
            <a:extLst>
              <a:ext uri="{FF2B5EF4-FFF2-40B4-BE49-F238E27FC236}">
                <a16:creationId xmlns:a16="http://schemas.microsoft.com/office/drawing/2014/main" id="{CB5FF56E-DA90-4199-AF9A-359BE08E9A15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6"/>
            </p:custDataLst>
          </p:nvPr>
        </p:nvSpPr>
        <p:spPr>
          <a:xfrm>
            <a:off x="554736" y="4510168"/>
            <a:ext cx="6016752" cy="215444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buNone/>
              <a:defRPr sz="1400">
                <a:solidFill>
                  <a:schemeClr val="tx1"/>
                </a:solidFill>
              </a:defRPr>
            </a:lvl1pPr>
            <a:lvl2pPr marL="115888" indent="0">
              <a:buNone/>
              <a:defRPr>
                <a:solidFill>
                  <a:schemeClr val="bg1"/>
                </a:solidFill>
              </a:defRPr>
            </a:lvl2pPr>
            <a:lvl3pPr marL="466344" indent="0">
              <a:buNone/>
              <a:defRPr>
                <a:solidFill>
                  <a:schemeClr val="bg1"/>
                </a:solidFill>
              </a:defRPr>
            </a:lvl3pPr>
            <a:lvl4pPr marL="813816" indent="0">
              <a:buNone/>
              <a:defRPr>
                <a:solidFill>
                  <a:schemeClr val="bg1"/>
                </a:solidFill>
              </a:defRPr>
            </a:lvl4pPr>
            <a:lvl5pPr marL="1161288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date or title/role</a:t>
            </a:r>
          </a:p>
        </p:txBody>
      </p:sp>
      <p:sp>
        <p:nvSpPr>
          <p:cNvPr id="14" name="Subtitle">
            <a:extLst>
              <a:ext uri="{FF2B5EF4-FFF2-40B4-BE49-F238E27FC236}">
                <a16:creationId xmlns:a16="http://schemas.microsoft.com/office/drawing/2014/main" id="{BFC960F1-3A46-4C93-83F3-47AB2EB0D15E}"/>
              </a:ext>
            </a:extLst>
          </p:cNvPr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551942" y="4092559"/>
            <a:ext cx="6016752" cy="307777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20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3" name="Title">
            <a:extLst>
              <a:ext uri="{FF2B5EF4-FFF2-40B4-BE49-F238E27FC236}">
                <a16:creationId xmlns:a16="http://schemas.microsoft.com/office/drawing/2014/main" id="{14DBF1FD-6C25-4E00-ACAB-F60F35C9625C}"/>
              </a:ext>
            </a:extLst>
          </p:cNvPr>
          <p:cNvSpPr>
            <a:spLocks noGrp="1"/>
          </p:cNvSpPr>
          <p:nvPr>
            <p:ph type="title"/>
            <p:custDataLst>
              <p:tags r:id="rId8"/>
            </p:custDataLst>
          </p:nvPr>
        </p:nvSpPr>
        <p:spPr>
          <a:xfrm>
            <a:off x="551942" y="2049805"/>
            <a:ext cx="6016752" cy="1921708"/>
          </a:xfrm>
          <a:prstGeom prst="rect">
            <a:avLst/>
          </a:prstGeom>
        </p:spPr>
        <p:txBody>
          <a:bodyPr anchor="b">
            <a:normAutofit/>
          </a:bodyPr>
          <a:lstStyle>
            <a:lvl1pPr>
              <a:defRPr sz="4400" baseline="0">
                <a:ln w="6350" cap="flat">
                  <a:noFill/>
                  <a:miter lim="800000"/>
                </a:ln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9" name="Disclaimer-English (United States)">
            <a:extLst>
              <a:ext uri="{FF2B5EF4-FFF2-40B4-BE49-F238E27FC236}">
                <a16:creationId xmlns:a16="http://schemas.microsoft.com/office/drawing/2014/main" id="{FB7A54AC-E14F-4BA1-B48F-5284B039668B}"/>
              </a:ext>
            </a:extLst>
          </p:cNvPr>
          <p:cNvSpPr>
            <a:spLocks noChangeArrowheads="1"/>
          </p:cNvSpPr>
          <p:nvPr userDrawn="1">
            <p:custDataLst>
              <p:tags r:id="rId9"/>
            </p:custDataLst>
          </p:nvPr>
        </p:nvSpPr>
        <p:spPr bwMode="black">
          <a:xfrm>
            <a:off x="551942" y="6190488"/>
            <a:ext cx="4114800" cy="35661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 anchorCtr="0">
            <a:noAutofit/>
          </a:bodyPr>
          <a:lstStyle/>
          <a:p>
            <a:pPr defTabSz="804863" eaLnBrk="0" hangingPunct="0"/>
            <a:r>
              <a:rPr lang="en-US" sz="800">
                <a:solidFill>
                  <a:schemeClr val="tx1"/>
                </a:solidFill>
                <a:latin typeface="+mn-lt"/>
              </a:rPr>
              <a:t>CONFIDENTIAL AND PROPRIETARY</a:t>
            </a:r>
          </a:p>
          <a:p>
            <a:pPr defTabSz="804863" eaLnBrk="0" hangingPunct="0"/>
            <a:r>
              <a:rPr lang="en-US" sz="800">
                <a:solidFill>
                  <a:schemeClr val="tx1"/>
                </a:solidFill>
                <a:latin typeface="+mn-lt"/>
              </a:rPr>
              <a:t>Any use of this material without specific permission is strictly prohibited</a:t>
            </a:r>
            <a:endParaRPr lang="en-US" sz="800" dirty="0">
              <a:solidFill>
                <a:schemeClr val="tx1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54305811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293AC4C-5B2F-4A0C-8C9B-7295BEE1F4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304797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364" name="think-cell Slide" r:id="rId17" imgW="572" imgH="588" progId="TCLayout.ActiveDocument.1">
                  <p:embed/>
                </p:oleObj>
              </mc:Choice>
              <mc:Fallback>
                <p:oleObj name="think-cell Slide" r:id="rId17" imgW="572" imgH="58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D8F8ABD0-305F-4DFC-AC60-1FB7BB16830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0415F114-7B0E-43F2-8881-F0D9FB2A643B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72212"/>
            <a:ext cx="6967728" cy="73152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5"/>
            </p:custDataLst>
          </p:nvPr>
        </p:nvSpPr>
        <p:spPr bwMode="ltGray">
          <a:xfrm>
            <a:off x="7830312" y="0"/>
            <a:ext cx="4361688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 hidden="1">
            <a:extLst>
              <a:ext uri="{FF2B5EF4-FFF2-40B4-BE49-F238E27FC236}">
                <a16:creationId xmlns:a16="http://schemas.microsoft.com/office/drawing/2014/main" id="{AEC46ACE-42CD-4304-9E51-86DBC38CA4EB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B7A7C0C-AC02-4989-860B-73442D510162}"/>
              </a:ext>
            </a:extLst>
          </p:cNvPr>
          <p:cNvSpPr>
            <a:spLocks noChangeArrowheads="1"/>
          </p:cNvSpPr>
          <p:nvPr userDrawn="1">
            <p:custDataLst>
              <p:tags r:id="rId7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2" name="BottomLineRight">
            <a:extLst>
              <a:ext uri="{FF2B5EF4-FFF2-40B4-BE49-F238E27FC236}">
                <a16:creationId xmlns:a16="http://schemas.microsoft.com/office/drawing/2014/main" id="{6425396B-5490-4E4D-8EA4-E4AB4F98BF62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8173371" y="6453769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BottomLineLeft">
            <a:extLst>
              <a:ext uri="{FF2B5EF4-FFF2-40B4-BE49-F238E27FC236}">
                <a16:creationId xmlns:a16="http://schemas.microsoft.com/office/drawing/2014/main" id="{570396F1-4249-402C-975E-F70778173C25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554736" y="6453769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TopLineRight">
            <a:extLst>
              <a:ext uri="{FF2B5EF4-FFF2-40B4-BE49-F238E27FC236}">
                <a16:creationId xmlns:a16="http://schemas.microsoft.com/office/drawing/2014/main" id="{C5BD98EE-C09E-457E-A028-EBE485145AA3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8173371" y="1181906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TopLineLeft">
            <a:extLst>
              <a:ext uri="{FF2B5EF4-FFF2-40B4-BE49-F238E27FC236}">
                <a16:creationId xmlns:a16="http://schemas.microsoft.com/office/drawing/2014/main" id="{47D3FB95-30DE-4983-B5AE-01B80542C0DD}"/>
              </a:ext>
            </a:extLst>
          </p:cNvPr>
          <p:cNvCxnSpPr/>
          <p:nvPr userDrawn="1">
            <p:custDataLst>
              <p:tags r:id="rId11"/>
            </p:custDataLst>
          </p:nvPr>
        </p:nvCxnSpPr>
        <p:spPr>
          <a:xfrm>
            <a:off x="554736" y="1181906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18D646E-BD43-4948-96FE-F798F0E18D71}"/>
              </a:ext>
            </a:extLst>
          </p:cNvPr>
          <p:cNvCxnSpPr/>
          <p:nvPr userDrawn="1">
            <p:custDataLst>
              <p:tags r:id="rId12"/>
            </p:custDataLst>
          </p:nvPr>
        </p:nvCxnSpPr>
        <p:spPr>
          <a:xfrm>
            <a:off x="554736" y="1181906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3. Subtitle">
            <a:extLst>
              <a:ext uri="{FF2B5EF4-FFF2-40B4-BE49-F238E27FC236}">
                <a16:creationId xmlns:a16="http://schemas.microsoft.com/office/drawing/2014/main" id="{712BED6B-950C-4FB8-AEE1-14FA61D013FF}"/>
              </a:ext>
            </a:extLst>
          </p:cNvPr>
          <p:cNvSpPr>
            <a:spLocks noGrp="1"/>
          </p:cNvSpPr>
          <p:nvPr>
            <p:ph type="subTitle" idx="1"/>
            <p:custDataLst>
              <p:tags r:id="rId13"/>
            </p:custDataLst>
          </p:nvPr>
        </p:nvSpPr>
        <p:spPr>
          <a:xfrm>
            <a:off x="554736" y="884725"/>
            <a:ext cx="6967728" cy="276999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F25A304F-F50E-4F96-991D-CFEB07060178}"/>
              </a:ext>
            </a:extLst>
          </p:cNvPr>
          <p:cNvSpPr txBox="1"/>
          <p:nvPr userDrawn="1">
            <p:custDataLst>
              <p:tags r:id="rId14"/>
            </p:custDataLst>
          </p:nvPr>
        </p:nvSpPr>
        <p:spPr>
          <a:xfrm>
            <a:off x="554735" y="6501669"/>
            <a:ext cx="6967729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22" name="1. On-page tracker">
            <a:extLst>
              <a:ext uri="{FF2B5EF4-FFF2-40B4-BE49-F238E27FC236}">
                <a16:creationId xmlns:a16="http://schemas.microsoft.com/office/drawing/2014/main" id="{C9F4B9E2-8CBE-4C72-8316-55D330991DCD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5"/>
            </p:custDataLst>
          </p:nvPr>
        </p:nvSpPr>
        <p:spPr>
          <a:xfrm>
            <a:off x="8174736" y="89319"/>
            <a:ext cx="3465576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91139095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/4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505" name="think-cell Slide" r:id="rId16" imgW="413" imgH="416" progId="TCLayout.ActiveDocument.1">
                  <p:embed/>
                </p:oleObj>
              </mc:Choice>
              <mc:Fallback>
                <p:oleObj name="think-cell Slide" r:id="rId16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5C86E70-6ADC-4EA2-90F2-373AC4FDE5D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500" b="1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eorgia" panose="02040502050405020303" pitchFamily="18" charset="0"/>
              <a:ea typeface="+mn-ea"/>
              <a:cs typeface="+mn-cs"/>
              <a:sym typeface="Georgia" panose="02040502050405020303" pitchFamily="18" charset="0"/>
            </a:endParaRPr>
          </a:p>
        </p:txBody>
      </p:sp>
      <p:sp>
        <p:nvSpPr>
          <p:cNvPr id="23" name="RectangleLight">
            <a:extLst>
              <a:ext uri="{FF2B5EF4-FFF2-40B4-BE49-F238E27FC236}">
                <a16:creationId xmlns:a16="http://schemas.microsoft.com/office/drawing/2014/main" id="{A80E2F68-4ED6-42EF-9858-2FE4B1382825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8781416" y="0"/>
            <a:ext cx="3410584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7" name="SlideLogoText" hidden="1">
            <a:extLst>
              <a:ext uri="{FF2B5EF4-FFF2-40B4-BE49-F238E27FC236}">
                <a16:creationId xmlns:a16="http://schemas.microsoft.com/office/drawing/2014/main" id="{609F85FD-B74A-4A4E-BFA9-7668DD6BCB90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6107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6107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27" name="BottomLineRight">
            <a:extLst>
              <a:ext uri="{FF2B5EF4-FFF2-40B4-BE49-F238E27FC236}">
                <a16:creationId xmlns:a16="http://schemas.microsoft.com/office/drawing/2014/main" id="{C7EF0021-7C64-4C3A-BB10-343D51B3F040}"/>
              </a:ext>
            </a:extLst>
          </p:cNvPr>
          <p:cNvCxnSpPr/>
          <p:nvPr>
            <p:custDataLst>
              <p:tags r:id="rId7"/>
            </p:custDataLst>
          </p:nvPr>
        </p:nvCxnSpPr>
        <p:spPr>
          <a:xfrm>
            <a:off x="9119861" y="6453769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BottomLineLeft">
            <a:extLst>
              <a:ext uri="{FF2B5EF4-FFF2-40B4-BE49-F238E27FC236}">
                <a16:creationId xmlns:a16="http://schemas.microsoft.com/office/drawing/2014/main" id="{769848ED-A1D9-4D6F-AC16-5512562B47A0}"/>
              </a:ext>
            </a:extLst>
          </p:cNvPr>
          <p:cNvCxnSpPr/>
          <p:nvPr>
            <p:custDataLst>
              <p:tags r:id="rId8"/>
            </p:custDataLst>
          </p:nvPr>
        </p:nvCxnSpPr>
        <p:spPr>
          <a:xfrm>
            <a:off x="554736" y="6453769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TopLineRight">
            <a:extLst>
              <a:ext uri="{FF2B5EF4-FFF2-40B4-BE49-F238E27FC236}">
                <a16:creationId xmlns:a16="http://schemas.microsoft.com/office/drawing/2014/main" id="{9DD5C457-8894-4C00-BE39-CE61754727F6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9119861" y="1181906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TopLineLeft">
            <a:extLst>
              <a:ext uri="{FF2B5EF4-FFF2-40B4-BE49-F238E27FC236}">
                <a16:creationId xmlns:a16="http://schemas.microsoft.com/office/drawing/2014/main" id="{8B2884B5-93FA-4ECC-9065-3398231F02FC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1181906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554736" y="172212"/>
            <a:ext cx="7918704" cy="73152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6" y="884725"/>
            <a:ext cx="7918704" cy="297181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id="{F5E9C22A-A356-4521-A359-338A663DFEA2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  <p:sp>
        <p:nvSpPr>
          <p:cNvPr id="15" name="1. On-page tracker">
            <a:extLst>
              <a:ext uri="{FF2B5EF4-FFF2-40B4-BE49-F238E27FC236}">
                <a16:creationId xmlns:a16="http://schemas.microsoft.com/office/drawing/2014/main" id="{1E771D75-4092-4C08-B152-0A8A51C4AB58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4"/>
            </p:custDataLst>
          </p:nvPr>
        </p:nvSpPr>
        <p:spPr>
          <a:xfrm>
            <a:off x="9116568" y="89319"/>
            <a:ext cx="2523744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147086153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-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3" name="BottomLine">
            <a:extLst>
              <a:ext uri="{FF2B5EF4-FFF2-40B4-BE49-F238E27FC236}">
                <a16:creationId xmlns:a16="http://schemas.microsoft.com/office/drawing/2014/main" id="{1A205B6C-F79D-4193-9FCF-230AF1D51716}"/>
              </a:ext>
            </a:extLst>
          </p:cNvPr>
          <p:cNvCxnSpPr/>
          <p:nvPr userDrawn="1">
            <p:custDataLst>
              <p:tags r:id="rId1"/>
            </p:custDataLst>
          </p:nvPr>
        </p:nvCxnSpPr>
        <p:spPr>
          <a:xfrm>
            <a:off x="554736" y="6453769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TopLine">
            <a:extLst>
              <a:ext uri="{FF2B5EF4-FFF2-40B4-BE49-F238E27FC236}">
                <a16:creationId xmlns:a16="http://schemas.microsoft.com/office/drawing/2014/main" id="{CB6CF5F8-7994-4E97-9AE6-6C98CE30967C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1181906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SlideLogoText" hidden="1">
            <a:extLst>
              <a:ext uri="{FF2B5EF4-FFF2-40B4-BE49-F238E27FC236}">
                <a16:creationId xmlns:a16="http://schemas.microsoft.com/office/drawing/2014/main" id="{B789CE62-716F-47B1-B8FE-60436A1FA5A7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id="{0AA537C7-2883-43C1-848C-3A4E9645077F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4" name="2. Slide Title">
            <a:extLst>
              <a:ext uri="{FF2B5EF4-FFF2-40B4-BE49-F238E27FC236}">
                <a16:creationId xmlns:a16="http://schemas.microsoft.com/office/drawing/2014/main" id="{6C3D89FC-A4B9-4683-B64F-B0644150274F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175171"/>
            <a:ext cx="11082528" cy="989512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5. Source" hidden="1">
            <a:extLst>
              <a:ext uri="{FF2B5EF4-FFF2-40B4-BE49-F238E27FC236}">
                <a16:creationId xmlns:a16="http://schemas.microsoft.com/office/drawing/2014/main" id="{81E2484B-3E40-408C-A350-5EB40C8A09F0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BAF19FD1-F55B-47CA-98C2-847FF06FB465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7"/>
            </p:custDataLst>
          </p:nvPr>
        </p:nvSpPr>
        <p:spPr>
          <a:xfrm>
            <a:off x="7156704" y="89319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97749930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LogoText" hidden="1">
            <a:extLst>
              <a:ext uri="{FF2B5EF4-FFF2-40B4-BE49-F238E27FC236}">
                <a16:creationId xmlns:a16="http://schemas.microsoft.com/office/drawing/2014/main" id="{92A63429-03F1-4595-BAE1-A5F5E74A0DF2}"/>
              </a:ext>
            </a:extLst>
          </p:cNvPr>
          <p:cNvSpPr txBox="1"/>
          <p:nvPr userDrawn="1">
            <p:custDataLst>
              <p:tags r:id="rId1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982A9EE-ED1D-4D7E-84CA-3C36D0891D68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09F9A864-CDB7-4063-BBF8-591908AA18D0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6" name="1. On-page tracker">
            <a:extLst>
              <a:ext uri="{FF2B5EF4-FFF2-40B4-BE49-F238E27FC236}">
                <a16:creationId xmlns:a16="http://schemas.microsoft.com/office/drawing/2014/main" id="{118A30D9-833F-440B-AA55-24469A8874C9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7156704" y="89319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8630075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32E4BA7-205B-4431-879A-B60A0FD6D20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778887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641" name="think-cell Slide" r:id="rId6" imgW="344" imgH="344" progId="TCLayout.ActiveDocument.1">
                  <p:embed/>
                </p:oleObj>
              </mc:Choice>
              <mc:Fallback>
                <p:oleObj name="think-cell Slide" r:id="rId6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artnership">
            <a:extLst>
              <a:ext uri="{FF2B5EF4-FFF2-40B4-BE49-F238E27FC236}">
                <a16:creationId xmlns:a16="http://schemas.microsoft.com/office/drawing/2014/main" id="{7C3A32BD-483D-48A2-B0AF-7A5223571242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grpSp>
        <p:nvGrpSpPr>
          <p:cNvPr id="13" name="LogoImage" hidden="1">
            <a:extLst>
              <a:ext uri="{FF2B5EF4-FFF2-40B4-BE49-F238E27FC236}">
                <a16:creationId xmlns:a16="http://schemas.microsoft.com/office/drawing/2014/main" id="{CC7EE236-F5C9-45E4-A938-FB794BCDD026}"/>
              </a:ext>
            </a:extLst>
          </p:cNvPr>
          <p:cNvGrpSpPr>
            <a:grpSpLocks noChangeAspect="1"/>
          </p:cNvGrpSpPr>
          <p:nvPr userDrawn="1">
            <p:custDataLst>
              <p:tags r:id="rId3"/>
            </p:custDataLst>
          </p:nvPr>
        </p:nvGrpSpPr>
        <p:grpSpPr bwMode="black">
          <a:xfrm>
            <a:off x="549271" y="481160"/>
            <a:ext cx="1893201" cy="585216"/>
            <a:chOff x="0" y="973"/>
            <a:chExt cx="7680" cy="2374"/>
          </a:xfrm>
        </p:grpSpPr>
        <p:sp>
          <p:nvSpPr>
            <p:cNvPr id="14" name="AutoShape 3" hidden="1">
              <a:extLst>
                <a:ext uri="{FF2B5EF4-FFF2-40B4-BE49-F238E27FC236}">
                  <a16:creationId xmlns:a16="http://schemas.microsoft.com/office/drawing/2014/main" id="{DD51008E-BD46-4558-BF00-CDD9F0CE18C6}"/>
                </a:ext>
              </a:extLst>
            </p:cNvPr>
            <p:cNvSpPr>
              <a:spLocks noChangeAspect="1" noChangeArrowheads="1" noTextEdit="1"/>
            </p:cNvSpPr>
            <p:nvPr userDrawn="1"/>
          </p:nvSpPr>
          <p:spPr bwMode="black">
            <a:xfrm>
              <a:off x="0" y="973"/>
              <a:ext cx="7680" cy="23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anose="020B0604020202020204" pitchFamily="34" charset="0"/>
              </a:endParaRPr>
            </a:p>
          </p:txBody>
        </p:sp>
        <p:sp>
          <p:nvSpPr>
            <p:cNvPr id="15" name="Freeform 5" hidden="1">
              <a:extLst>
                <a:ext uri="{FF2B5EF4-FFF2-40B4-BE49-F238E27FC236}">
                  <a16:creationId xmlns:a16="http://schemas.microsoft.com/office/drawing/2014/main" id="{FC37904A-905D-4FD7-8DD4-604C419D9AB5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0" y="974"/>
              <a:ext cx="7680" cy="2373"/>
            </a:xfrm>
            <a:custGeom>
              <a:avLst/>
              <a:gdLst>
                <a:gd name="T0" fmla="*/ 4209 w 15155"/>
                <a:gd name="T1" fmla="*/ 2986 h 4678"/>
                <a:gd name="T2" fmla="*/ 3707 w 15155"/>
                <a:gd name="T3" fmla="*/ 2422 h 4678"/>
                <a:gd name="T4" fmla="*/ 3712 w 15155"/>
                <a:gd name="T5" fmla="*/ 2340 h 4678"/>
                <a:gd name="T6" fmla="*/ 4724 w 15155"/>
                <a:gd name="T7" fmla="*/ 4124 h 4678"/>
                <a:gd name="T8" fmla="*/ 3330 w 15155"/>
                <a:gd name="T9" fmla="*/ 3521 h 4678"/>
                <a:gd name="T10" fmla="*/ 5673 w 15155"/>
                <a:gd name="T11" fmla="*/ 3002 h 4678"/>
                <a:gd name="T12" fmla="*/ 6627 w 15155"/>
                <a:gd name="T13" fmla="*/ 2408 h 4678"/>
                <a:gd name="T14" fmla="*/ 6279 w 15155"/>
                <a:gd name="T15" fmla="*/ 4007 h 4678"/>
                <a:gd name="T16" fmla="*/ 10270 w 15155"/>
                <a:gd name="T17" fmla="*/ 3073 h 4678"/>
                <a:gd name="T18" fmla="*/ 10801 w 15155"/>
                <a:gd name="T19" fmla="*/ 4678 h 4678"/>
                <a:gd name="T20" fmla="*/ 11466 w 15155"/>
                <a:gd name="T21" fmla="*/ 3537 h 4678"/>
                <a:gd name="T22" fmla="*/ 10602 w 15155"/>
                <a:gd name="T23" fmla="*/ 3405 h 4678"/>
                <a:gd name="T24" fmla="*/ 14762 w 15155"/>
                <a:gd name="T25" fmla="*/ 3073 h 4678"/>
                <a:gd name="T26" fmla="*/ 14505 w 15155"/>
                <a:gd name="T27" fmla="*/ 2986 h 4678"/>
                <a:gd name="T28" fmla="*/ 14145 w 15155"/>
                <a:gd name="T29" fmla="*/ 4620 h 4678"/>
                <a:gd name="T30" fmla="*/ 15155 w 15155"/>
                <a:gd name="T31" fmla="*/ 2986 h 4678"/>
                <a:gd name="T32" fmla="*/ 10231 w 15155"/>
                <a:gd name="T33" fmla="*/ 4037 h 4678"/>
                <a:gd name="T34" fmla="*/ 9005 w 15155"/>
                <a:gd name="T35" fmla="*/ 2961 h 4678"/>
                <a:gd name="T36" fmla="*/ 8378 w 15155"/>
                <a:gd name="T37" fmla="*/ 3194 h 4678"/>
                <a:gd name="T38" fmla="*/ 8775 w 15155"/>
                <a:gd name="T39" fmla="*/ 4037 h 4678"/>
                <a:gd name="T40" fmla="*/ 9107 w 15155"/>
                <a:gd name="T41" fmla="*/ 3916 h 4678"/>
                <a:gd name="T42" fmla="*/ 9439 w 15155"/>
                <a:gd name="T43" fmla="*/ 4037 h 4678"/>
                <a:gd name="T44" fmla="*/ 9712 w 15155"/>
                <a:gd name="T45" fmla="*/ 4037 h 4678"/>
                <a:gd name="T46" fmla="*/ 7962 w 15155"/>
                <a:gd name="T47" fmla="*/ 3741 h 4678"/>
                <a:gd name="T48" fmla="*/ 7962 w 15155"/>
                <a:gd name="T49" fmla="*/ 3741 h 4678"/>
                <a:gd name="T50" fmla="*/ 12654 w 15155"/>
                <a:gd name="T51" fmla="*/ 2986 h 4678"/>
                <a:gd name="T52" fmla="*/ 12586 w 15155"/>
                <a:gd name="T53" fmla="*/ 4036 h 4678"/>
                <a:gd name="T54" fmla="*/ 11780 w 15155"/>
                <a:gd name="T55" fmla="*/ 3367 h 4678"/>
                <a:gd name="T56" fmla="*/ 11871 w 15155"/>
                <a:gd name="T57" fmla="*/ 4146 h 4678"/>
                <a:gd name="T58" fmla="*/ 13060 w 15155"/>
                <a:gd name="T59" fmla="*/ 3917 h 4678"/>
                <a:gd name="T60" fmla="*/ 13423 w 15155"/>
                <a:gd name="T61" fmla="*/ 4037 h 4678"/>
                <a:gd name="T62" fmla="*/ 12250 w 15155"/>
                <a:gd name="T63" fmla="*/ 3787 h 4678"/>
                <a:gd name="T64" fmla="*/ 12250 w 15155"/>
                <a:gd name="T65" fmla="*/ 3787 h 4678"/>
                <a:gd name="T66" fmla="*/ 8758 w 15155"/>
                <a:gd name="T67" fmla="*/ 1080 h 4678"/>
                <a:gd name="T68" fmla="*/ 8559 w 15155"/>
                <a:gd name="T69" fmla="*/ 1013 h 4678"/>
                <a:gd name="T70" fmla="*/ 9105 w 15155"/>
                <a:gd name="T71" fmla="*/ 2310 h 4678"/>
                <a:gd name="T72" fmla="*/ 9553 w 15155"/>
                <a:gd name="T73" fmla="*/ 626 h 4678"/>
                <a:gd name="T74" fmla="*/ 9293 w 15155"/>
                <a:gd name="T75" fmla="*/ 713 h 4678"/>
                <a:gd name="T76" fmla="*/ 8947 w 15155"/>
                <a:gd name="T77" fmla="*/ 843 h 4678"/>
                <a:gd name="T78" fmla="*/ 5105 w 15155"/>
                <a:gd name="T79" fmla="*/ 349 h 4678"/>
                <a:gd name="T80" fmla="*/ 3793 w 15155"/>
                <a:gd name="T81" fmla="*/ 882 h 4678"/>
                <a:gd name="T82" fmla="*/ 5848 w 15155"/>
                <a:gd name="T83" fmla="*/ 981 h 4678"/>
                <a:gd name="T84" fmla="*/ 6211 w 15155"/>
                <a:gd name="T85" fmla="*/ 1763 h 4678"/>
                <a:gd name="T86" fmla="*/ 6296 w 15155"/>
                <a:gd name="T87" fmla="*/ 601 h 4678"/>
                <a:gd name="T88" fmla="*/ 5638 w 15155"/>
                <a:gd name="T89" fmla="*/ 833 h 4678"/>
                <a:gd name="T90" fmla="*/ 4836 w 15155"/>
                <a:gd name="T91" fmla="*/ 625 h 4678"/>
                <a:gd name="T92" fmla="*/ 4778 w 15155"/>
                <a:gd name="T93" fmla="*/ 1676 h 4678"/>
                <a:gd name="T94" fmla="*/ 4692 w 15155"/>
                <a:gd name="T95" fmla="*/ 0 h 4678"/>
                <a:gd name="T96" fmla="*/ 3614 w 15155"/>
                <a:gd name="T97" fmla="*/ 221 h 4678"/>
                <a:gd name="T98" fmla="*/ 3236 w 15155"/>
                <a:gd name="T99" fmla="*/ 88 h 4678"/>
                <a:gd name="T100" fmla="*/ 3836 w 15155"/>
                <a:gd name="T101" fmla="*/ 1763 h 4678"/>
                <a:gd name="T102" fmla="*/ 7219 w 15155"/>
                <a:gd name="T103" fmla="*/ 683 h 4678"/>
                <a:gd name="T104" fmla="*/ 7226 w 15155"/>
                <a:gd name="T105" fmla="*/ 598 h 4678"/>
                <a:gd name="T106" fmla="*/ 6952 w 15155"/>
                <a:gd name="T107" fmla="*/ 1361 h 4678"/>
                <a:gd name="T108" fmla="*/ 7720 w 15155"/>
                <a:gd name="T109" fmla="*/ 1446 h 4678"/>
                <a:gd name="T110" fmla="*/ 3049 w 15155"/>
                <a:gd name="T111" fmla="*/ 753 h 4678"/>
                <a:gd name="T112" fmla="*/ 2703 w 15155"/>
                <a:gd name="T113" fmla="*/ 1584 h 4678"/>
                <a:gd name="T114" fmla="*/ 87 w 15155"/>
                <a:gd name="T115" fmla="*/ 88 h 4678"/>
                <a:gd name="T116" fmla="*/ 549 w 15155"/>
                <a:gd name="T117" fmla="*/ 1763 h 4678"/>
                <a:gd name="T118" fmla="*/ 1609 w 15155"/>
                <a:gd name="T119" fmla="*/ 259 h 4678"/>
                <a:gd name="T120" fmla="*/ 2069 w 15155"/>
                <a:gd name="T121" fmla="*/ 1676 h 4678"/>
                <a:gd name="T122" fmla="*/ 2070 w 15155"/>
                <a:gd name="T123" fmla="*/ 0 h 46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5155" h="4678">
                  <a:moveTo>
                    <a:pt x="4451" y="3751"/>
                  </a:moveTo>
                  <a:cubicBezTo>
                    <a:pt x="4549" y="3607"/>
                    <a:pt x="4604" y="3438"/>
                    <a:pt x="4609" y="3264"/>
                  </a:cubicBezTo>
                  <a:cubicBezTo>
                    <a:pt x="4611" y="3211"/>
                    <a:pt x="4732" y="3072"/>
                    <a:pt x="4766" y="3072"/>
                  </a:cubicBezTo>
                  <a:cubicBezTo>
                    <a:pt x="4834" y="3072"/>
                    <a:pt x="4834" y="3072"/>
                    <a:pt x="4834" y="3072"/>
                  </a:cubicBezTo>
                  <a:cubicBezTo>
                    <a:pt x="4834" y="2986"/>
                    <a:pt x="4834" y="2986"/>
                    <a:pt x="4834" y="2986"/>
                  </a:cubicBezTo>
                  <a:cubicBezTo>
                    <a:pt x="4209" y="2986"/>
                    <a:pt x="4209" y="2986"/>
                    <a:pt x="4209" y="2986"/>
                  </a:cubicBezTo>
                  <a:cubicBezTo>
                    <a:pt x="4209" y="3073"/>
                    <a:pt x="4209" y="3073"/>
                    <a:pt x="4209" y="3073"/>
                  </a:cubicBezTo>
                  <a:cubicBezTo>
                    <a:pt x="4380" y="3078"/>
                    <a:pt x="4487" y="3175"/>
                    <a:pt x="4487" y="3337"/>
                  </a:cubicBezTo>
                  <a:cubicBezTo>
                    <a:pt x="4487" y="3482"/>
                    <a:pt x="4463" y="3591"/>
                    <a:pt x="4395" y="3702"/>
                  </a:cubicBezTo>
                  <a:cubicBezTo>
                    <a:pt x="4155" y="3489"/>
                    <a:pt x="3882" y="3230"/>
                    <a:pt x="3654" y="2986"/>
                  </a:cubicBezTo>
                  <a:cubicBezTo>
                    <a:pt x="3501" y="2928"/>
                    <a:pt x="3404" y="2814"/>
                    <a:pt x="3404" y="2673"/>
                  </a:cubicBezTo>
                  <a:cubicBezTo>
                    <a:pt x="3404" y="2514"/>
                    <a:pt x="3518" y="2422"/>
                    <a:pt x="3707" y="2422"/>
                  </a:cubicBezTo>
                  <a:cubicBezTo>
                    <a:pt x="3942" y="2422"/>
                    <a:pt x="4116" y="2659"/>
                    <a:pt x="4116" y="2777"/>
                  </a:cubicBezTo>
                  <a:cubicBezTo>
                    <a:pt x="4191" y="2777"/>
                    <a:pt x="4191" y="2777"/>
                    <a:pt x="4191" y="2777"/>
                  </a:cubicBezTo>
                  <a:cubicBezTo>
                    <a:pt x="4191" y="2362"/>
                    <a:pt x="4191" y="2362"/>
                    <a:pt x="4191" y="2362"/>
                  </a:cubicBezTo>
                  <a:cubicBezTo>
                    <a:pt x="4116" y="2362"/>
                    <a:pt x="4116" y="2362"/>
                    <a:pt x="4116" y="2362"/>
                  </a:cubicBezTo>
                  <a:cubicBezTo>
                    <a:pt x="4097" y="2391"/>
                    <a:pt x="4074" y="2393"/>
                    <a:pt x="4034" y="2393"/>
                  </a:cubicBezTo>
                  <a:cubicBezTo>
                    <a:pt x="3959" y="2393"/>
                    <a:pt x="3874" y="2340"/>
                    <a:pt x="3712" y="2340"/>
                  </a:cubicBezTo>
                  <a:cubicBezTo>
                    <a:pt x="3453" y="2340"/>
                    <a:pt x="3288" y="2480"/>
                    <a:pt x="3288" y="2732"/>
                  </a:cubicBezTo>
                  <a:cubicBezTo>
                    <a:pt x="3288" y="2887"/>
                    <a:pt x="3346" y="2991"/>
                    <a:pt x="3431" y="3100"/>
                  </a:cubicBezTo>
                  <a:cubicBezTo>
                    <a:pt x="3253" y="3219"/>
                    <a:pt x="3146" y="3420"/>
                    <a:pt x="3148" y="3634"/>
                  </a:cubicBezTo>
                  <a:cubicBezTo>
                    <a:pt x="3148" y="3944"/>
                    <a:pt x="3421" y="4155"/>
                    <a:pt x="3707" y="4155"/>
                  </a:cubicBezTo>
                  <a:cubicBezTo>
                    <a:pt x="3966" y="4155"/>
                    <a:pt x="4145" y="4080"/>
                    <a:pt x="4286" y="3944"/>
                  </a:cubicBezTo>
                  <a:cubicBezTo>
                    <a:pt x="4431" y="4078"/>
                    <a:pt x="4552" y="4124"/>
                    <a:pt x="4724" y="4124"/>
                  </a:cubicBezTo>
                  <a:cubicBezTo>
                    <a:pt x="4913" y="4124"/>
                    <a:pt x="4913" y="4124"/>
                    <a:pt x="4913" y="4124"/>
                  </a:cubicBezTo>
                  <a:cubicBezTo>
                    <a:pt x="4913" y="4036"/>
                    <a:pt x="4913" y="4036"/>
                    <a:pt x="4913" y="4036"/>
                  </a:cubicBezTo>
                  <a:cubicBezTo>
                    <a:pt x="4809" y="4036"/>
                    <a:pt x="4809" y="4036"/>
                    <a:pt x="4809" y="4036"/>
                  </a:cubicBezTo>
                  <a:cubicBezTo>
                    <a:pt x="4685" y="3947"/>
                    <a:pt x="4565" y="3852"/>
                    <a:pt x="4451" y="3751"/>
                  </a:cubicBezTo>
                  <a:close/>
                  <a:moveTo>
                    <a:pt x="3851" y="4015"/>
                  </a:moveTo>
                  <a:cubicBezTo>
                    <a:pt x="3599" y="4015"/>
                    <a:pt x="3330" y="3772"/>
                    <a:pt x="3330" y="3521"/>
                  </a:cubicBezTo>
                  <a:cubicBezTo>
                    <a:pt x="3330" y="3339"/>
                    <a:pt x="3378" y="3243"/>
                    <a:pt x="3470" y="3148"/>
                  </a:cubicBezTo>
                  <a:cubicBezTo>
                    <a:pt x="3707" y="3414"/>
                    <a:pt x="3962" y="3664"/>
                    <a:pt x="4233" y="3896"/>
                  </a:cubicBezTo>
                  <a:cubicBezTo>
                    <a:pt x="4134" y="3971"/>
                    <a:pt x="4008" y="4015"/>
                    <a:pt x="3851" y="4015"/>
                  </a:cubicBezTo>
                  <a:close/>
                  <a:moveTo>
                    <a:pt x="6279" y="4007"/>
                  </a:moveTo>
                  <a:cubicBezTo>
                    <a:pt x="5920" y="4007"/>
                    <a:pt x="5707" y="3758"/>
                    <a:pt x="5678" y="3450"/>
                  </a:cubicBezTo>
                  <a:cubicBezTo>
                    <a:pt x="5664" y="3301"/>
                    <a:pt x="5663" y="3151"/>
                    <a:pt x="5673" y="3002"/>
                  </a:cubicBezTo>
                  <a:cubicBezTo>
                    <a:pt x="5705" y="2605"/>
                    <a:pt x="5887" y="2435"/>
                    <a:pt x="6192" y="2435"/>
                  </a:cubicBezTo>
                  <a:cubicBezTo>
                    <a:pt x="6523" y="2435"/>
                    <a:pt x="6726" y="2803"/>
                    <a:pt x="6726" y="2985"/>
                  </a:cubicBezTo>
                  <a:cubicBezTo>
                    <a:pt x="6801" y="2985"/>
                    <a:pt x="6801" y="2985"/>
                    <a:pt x="6801" y="2985"/>
                  </a:cubicBezTo>
                  <a:cubicBezTo>
                    <a:pt x="6801" y="2362"/>
                    <a:pt x="6801" y="2362"/>
                    <a:pt x="6801" y="2362"/>
                  </a:cubicBezTo>
                  <a:cubicBezTo>
                    <a:pt x="6736" y="2362"/>
                    <a:pt x="6736" y="2362"/>
                    <a:pt x="6736" y="2362"/>
                  </a:cubicBezTo>
                  <a:cubicBezTo>
                    <a:pt x="6709" y="2393"/>
                    <a:pt x="6683" y="2408"/>
                    <a:pt x="6627" y="2408"/>
                  </a:cubicBezTo>
                  <a:cubicBezTo>
                    <a:pt x="6489" y="2408"/>
                    <a:pt x="6370" y="2330"/>
                    <a:pt x="6181" y="2330"/>
                  </a:cubicBezTo>
                  <a:cubicBezTo>
                    <a:pt x="5687" y="2330"/>
                    <a:pt x="5392" y="2732"/>
                    <a:pt x="5392" y="3236"/>
                  </a:cubicBezTo>
                  <a:cubicBezTo>
                    <a:pt x="5392" y="3740"/>
                    <a:pt x="5719" y="4156"/>
                    <a:pt x="6225" y="4156"/>
                  </a:cubicBezTo>
                  <a:cubicBezTo>
                    <a:pt x="6577" y="4156"/>
                    <a:pt x="6824" y="3967"/>
                    <a:pt x="6937" y="3652"/>
                  </a:cubicBezTo>
                  <a:cubicBezTo>
                    <a:pt x="6845" y="3652"/>
                    <a:pt x="6845" y="3652"/>
                    <a:pt x="6845" y="3652"/>
                  </a:cubicBezTo>
                  <a:cubicBezTo>
                    <a:pt x="6731" y="3884"/>
                    <a:pt x="6583" y="4007"/>
                    <a:pt x="6279" y="4007"/>
                  </a:cubicBezTo>
                  <a:close/>
                  <a:moveTo>
                    <a:pt x="11018" y="2957"/>
                  </a:moveTo>
                  <a:cubicBezTo>
                    <a:pt x="10830" y="2957"/>
                    <a:pt x="10704" y="3037"/>
                    <a:pt x="10605" y="3221"/>
                  </a:cubicBezTo>
                  <a:cubicBezTo>
                    <a:pt x="10566" y="2986"/>
                    <a:pt x="10566" y="2986"/>
                    <a:pt x="10566" y="2986"/>
                  </a:cubicBezTo>
                  <a:cubicBezTo>
                    <a:pt x="10195" y="2986"/>
                    <a:pt x="10195" y="2986"/>
                    <a:pt x="10195" y="2986"/>
                  </a:cubicBezTo>
                  <a:cubicBezTo>
                    <a:pt x="10195" y="3073"/>
                    <a:pt x="10195" y="3073"/>
                    <a:pt x="10195" y="3073"/>
                  </a:cubicBezTo>
                  <a:cubicBezTo>
                    <a:pt x="10270" y="3073"/>
                    <a:pt x="10270" y="3073"/>
                    <a:pt x="10270" y="3073"/>
                  </a:cubicBezTo>
                  <a:cubicBezTo>
                    <a:pt x="10304" y="3073"/>
                    <a:pt x="10391" y="3158"/>
                    <a:pt x="10391" y="3194"/>
                  </a:cubicBezTo>
                  <a:cubicBezTo>
                    <a:pt x="10391" y="4470"/>
                    <a:pt x="10391" y="4470"/>
                    <a:pt x="10391" y="4470"/>
                  </a:cubicBezTo>
                  <a:cubicBezTo>
                    <a:pt x="10391" y="4508"/>
                    <a:pt x="10304" y="4591"/>
                    <a:pt x="10270" y="4591"/>
                  </a:cubicBezTo>
                  <a:cubicBezTo>
                    <a:pt x="10195" y="4591"/>
                    <a:pt x="10195" y="4591"/>
                    <a:pt x="10195" y="4591"/>
                  </a:cubicBezTo>
                  <a:cubicBezTo>
                    <a:pt x="10195" y="4678"/>
                    <a:pt x="10195" y="4678"/>
                    <a:pt x="10195" y="4678"/>
                  </a:cubicBezTo>
                  <a:cubicBezTo>
                    <a:pt x="10801" y="4678"/>
                    <a:pt x="10801" y="4678"/>
                    <a:pt x="10801" y="4678"/>
                  </a:cubicBezTo>
                  <a:cubicBezTo>
                    <a:pt x="10801" y="4591"/>
                    <a:pt x="10801" y="4591"/>
                    <a:pt x="10801" y="4591"/>
                  </a:cubicBezTo>
                  <a:cubicBezTo>
                    <a:pt x="10726" y="4591"/>
                    <a:pt x="10726" y="4591"/>
                    <a:pt x="10726" y="4591"/>
                  </a:cubicBezTo>
                  <a:cubicBezTo>
                    <a:pt x="10694" y="4591"/>
                    <a:pt x="10605" y="4508"/>
                    <a:pt x="10605" y="4470"/>
                  </a:cubicBezTo>
                  <a:cubicBezTo>
                    <a:pt x="10605" y="3922"/>
                    <a:pt x="10605" y="3922"/>
                    <a:pt x="10605" y="3922"/>
                  </a:cubicBezTo>
                  <a:cubicBezTo>
                    <a:pt x="10687" y="4070"/>
                    <a:pt x="10793" y="4147"/>
                    <a:pt x="10994" y="4147"/>
                  </a:cubicBezTo>
                  <a:cubicBezTo>
                    <a:pt x="11272" y="4147"/>
                    <a:pt x="11466" y="3888"/>
                    <a:pt x="11466" y="3537"/>
                  </a:cubicBezTo>
                  <a:cubicBezTo>
                    <a:pt x="11466" y="3186"/>
                    <a:pt x="11297" y="2957"/>
                    <a:pt x="11018" y="2957"/>
                  </a:cubicBezTo>
                  <a:close/>
                  <a:moveTo>
                    <a:pt x="11246" y="3722"/>
                  </a:moveTo>
                  <a:cubicBezTo>
                    <a:pt x="11222" y="3903"/>
                    <a:pt x="11130" y="4027"/>
                    <a:pt x="10934" y="4027"/>
                  </a:cubicBezTo>
                  <a:cubicBezTo>
                    <a:pt x="10753" y="4029"/>
                    <a:pt x="10604" y="3884"/>
                    <a:pt x="10602" y="3703"/>
                  </a:cubicBezTo>
                  <a:cubicBezTo>
                    <a:pt x="10602" y="3701"/>
                    <a:pt x="10602" y="3698"/>
                    <a:pt x="10602" y="3695"/>
                  </a:cubicBezTo>
                  <a:cubicBezTo>
                    <a:pt x="10602" y="3405"/>
                    <a:pt x="10602" y="3405"/>
                    <a:pt x="10602" y="3405"/>
                  </a:cubicBezTo>
                  <a:cubicBezTo>
                    <a:pt x="10658" y="3225"/>
                    <a:pt x="10767" y="3092"/>
                    <a:pt x="10961" y="3092"/>
                  </a:cubicBezTo>
                  <a:cubicBezTo>
                    <a:pt x="11125" y="3092"/>
                    <a:pt x="11224" y="3208"/>
                    <a:pt x="11249" y="3390"/>
                  </a:cubicBezTo>
                  <a:cubicBezTo>
                    <a:pt x="11262" y="3500"/>
                    <a:pt x="11261" y="3612"/>
                    <a:pt x="11246" y="3722"/>
                  </a:cubicBezTo>
                  <a:close/>
                  <a:moveTo>
                    <a:pt x="14693" y="2986"/>
                  </a:moveTo>
                  <a:cubicBezTo>
                    <a:pt x="14693" y="3073"/>
                    <a:pt x="14693" y="3073"/>
                    <a:pt x="14693" y="3073"/>
                  </a:cubicBezTo>
                  <a:cubicBezTo>
                    <a:pt x="14762" y="3073"/>
                    <a:pt x="14762" y="3073"/>
                    <a:pt x="14762" y="3073"/>
                  </a:cubicBezTo>
                  <a:cubicBezTo>
                    <a:pt x="14794" y="3073"/>
                    <a:pt x="14864" y="3153"/>
                    <a:pt x="14862" y="3199"/>
                  </a:cubicBezTo>
                  <a:cubicBezTo>
                    <a:pt x="14610" y="3758"/>
                    <a:pt x="14610" y="3758"/>
                    <a:pt x="14610" y="3758"/>
                  </a:cubicBezTo>
                  <a:cubicBezTo>
                    <a:pt x="14335" y="3196"/>
                    <a:pt x="14335" y="3196"/>
                    <a:pt x="14335" y="3196"/>
                  </a:cubicBezTo>
                  <a:cubicBezTo>
                    <a:pt x="14335" y="3154"/>
                    <a:pt x="14403" y="3073"/>
                    <a:pt x="14434" y="3073"/>
                  </a:cubicBezTo>
                  <a:cubicBezTo>
                    <a:pt x="14505" y="3073"/>
                    <a:pt x="14505" y="3073"/>
                    <a:pt x="14505" y="3073"/>
                  </a:cubicBezTo>
                  <a:cubicBezTo>
                    <a:pt x="14505" y="2986"/>
                    <a:pt x="14505" y="2986"/>
                    <a:pt x="14505" y="2986"/>
                  </a:cubicBezTo>
                  <a:cubicBezTo>
                    <a:pt x="13889" y="2986"/>
                    <a:pt x="13889" y="2986"/>
                    <a:pt x="13889" y="2986"/>
                  </a:cubicBezTo>
                  <a:cubicBezTo>
                    <a:pt x="13889" y="3073"/>
                    <a:pt x="13889" y="3073"/>
                    <a:pt x="13889" y="3073"/>
                  </a:cubicBezTo>
                  <a:cubicBezTo>
                    <a:pt x="13940" y="3073"/>
                    <a:pt x="13940" y="3073"/>
                    <a:pt x="13940" y="3073"/>
                  </a:cubicBezTo>
                  <a:cubicBezTo>
                    <a:pt x="13969" y="3073"/>
                    <a:pt x="14068" y="3167"/>
                    <a:pt x="14087" y="3204"/>
                  </a:cubicBezTo>
                  <a:cubicBezTo>
                    <a:pt x="14489" y="3995"/>
                    <a:pt x="14489" y="3995"/>
                    <a:pt x="14489" y="3995"/>
                  </a:cubicBezTo>
                  <a:cubicBezTo>
                    <a:pt x="14145" y="4620"/>
                    <a:pt x="14145" y="4620"/>
                    <a:pt x="14145" y="4620"/>
                  </a:cubicBezTo>
                  <a:cubicBezTo>
                    <a:pt x="14245" y="4671"/>
                    <a:pt x="14245" y="4671"/>
                    <a:pt x="14245" y="4671"/>
                  </a:cubicBezTo>
                  <a:cubicBezTo>
                    <a:pt x="14584" y="4030"/>
                    <a:pt x="14584" y="4030"/>
                    <a:pt x="14584" y="4030"/>
                  </a:cubicBezTo>
                  <a:cubicBezTo>
                    <a:pt x="14968" y="3199"/>
                    <a:pt x="14968" y="3199"/>
                    <a:pt x="14968" y="3199"/>
                  </a:cubicBezTo>
                  <a:cubicBezTo>
                    <a:pt x="14993" y="3161"/>
                    <a:pt x="15075" y="3073"/>
                    <a:pt x="15102" y="3073"/>
                  </a:cubicBezTo>
                  <a:cubicBezTo>
                    <a:pt x="15155" y="3073"/>
                    <a:pt x="15155" y="3073"/>
                    <a:pt x="15155" y="3073"/>
                  </a:cubicBezTo>
                  <a:cubicBezTo>
                    <a:pt x="15155" y="2986"/>
                    <a:pt x="15155" y="2986"/>
                    <a:pt x="15155" y="2986"/>
                  </a:cubicBezTo>
                  <a:lnTo>
                    <a:pt x="14693" y="2986"/>
                  </a:lnTo>
                  <a:close/>
                  <a:moveTo>
                    <a:pt x="9712" y="4037"/>
                  </a:moveTo>
                  <a:cubicBezTo>
                    <a:pt x="9647" y="4037"/>
                    <a:pt x="9647" y="4037"/>
                    <a:pt x="9647" y="4037"/>
                  </a:cubicBezTo>
                  <a:cubicBezTo>
                    <a:pt x="9647" y="4124"/>
                    <a:pt x="9647" y="4124"/>
                    <a:pt x="9647" y="4124"/>
                  </a:cubicBezTo>
                  <a:cubicBezTo>
                    <a:pt x="10231" y="4124"/>
                    <a:pt x="10231" y="4124"/>
                    <a:pt x="10231" y="4124"/>
                  </a:cubicBezTo>
                  <a:cubicBezTo>
                    <a:pt x="10231" y="4037"/>
                    <a:pt x="10231" y="4037"/>
                    <a:pt x="10231" y="4037"/>
                  </a:cubicBezTo>
                  <a:cubicBezTo>
                    <a:pt x="10165" y="4037"/>
                    <a:pt x="10165" y="4037"/>
                    <a:pt x="10165" y="4037"/>
                  </a:cubicBezTo>
                  <a:cubicBezTo>
                    <a:pt x="10131" y="4037"/>
                    <a:pt x="10044" y="3954"/>
                    <a:pt x="10044" y="3916"/>
                  </a:cubicBezTo>
                  <a:cubicBezTo>
                    <a:pt x="10044" y="3288"/>
                    <a:pt x="10044" y="3288"/>
                    <a:pt x="10044" y="3288"/>
                  </a:cubicBezTo>
                  <a:cubicBezTo>
                    <a:pt x="10044" y="3080"/>
                    <a:pt x="9904" y="2964"/>
                    <a:pt x="9732" y="2964"/>
                  </a:cubicBezTo>
                  <a:cubicBezTo>
                    <a:pt x="9538" y="2964"/>
                    <a:pt x="9448" y="3066"/>
                    <a:pt x="9308" y="3204"/>
                  </a:cubicBezTo>
                  <a:cubicBezTo>
                    <a:pt x="9287" y="3044"/>
                    <a:pt x="9158" y="2961"/>
                    <a:pt x="9005" y="2961"/>
                  </a:cubicBezTo>
                  <a:cubicBezTo>
                    <a:pt x="8804" y="2961"/>
                    <a:pt x="8720" y="3068"/>
                    <a:pt x="8589" y="3206"/>
                  </a:cubicBezTo>
                  <a:cubicBezTo>
                    <a:pt x="8544" y="2986"/>
                    <a:pt x="8544" y="2986"/>
                    <a:pt x="8544" y="2986"/>
                  </a:cubicBezTo>
                  <a:cubicBezTo>
                    <a:pt x="8192" y="2986"/>
                    <a:pt x="8192" y="2986"/>
                    <a:pt x="8192" y="2986"/>
                  </a:cubicBezTo>
                  <a:cubicBezTo>
                    <a:pt x="8192" y="3073"/>
                    <a:pt x="8192" y="3073"/>
                    <a:pt x="8192" y="3073"/>
                  </a:cubicBezTo>
                  <a:cubicBezTo>
                    <a:pt x="8257" y="3073"/>
                    <a:pt x="8257" y="3073"/>
                    <a:pt x="8257" y="3073"/>
                  </a:cubicBezTo>
                  <a:cubicBezTo>
                    <a:pt x="8291" y="3073"/>
                    <a:pt x="8378" y="3158"/>
                    <a:pt x="8378" y="3194"/>
                  </a:cubicBezTo>
                  <a:cubicBezTo>
                    <a:pt x="8378" y="3916"/>
                    <a:pt x="8378" y="3916"/>
                    <a:pt x="8378" y="3916"/>
                  </a:cubicBezTo>
                  <a:cubicBezTo>
                    <a:pt x="8378" y="3954"/>
                    <a:pt x="8291" y="4037"/>
                    <a:pt x="8257" y="4037"/>
                  </a:cubicBezTo>
                  <a:cubicBezTo>
                    <a:pt x="8192" y="4037"/>
                    <a:pt x="8192" y="4037"/>
                    <a:pt x="8192" y="4037"/>
                  </a:cubicBezTo>
                  <a:cubicBezTo>
                    <a:pt x="8192" y="4124"/>
                    <a:pt x="8192" y="4124"/>
                    <a:pt x="8192" y="4124"/>
                  </a:cubicBezTo>
                  <a:cubicBezTo>
                    <a:pt x="8775" y="4124"/>
                    <a:pt x="8775" y="4124"/>
                    <a:pt x="8775" y="4124"/>
                  </a:cubicBezTo>
                  <a:cubicBezTo>
                    <a:pt x="8775" y="4037"/>
                    <a:pt x="8775" y="4037"/>
                    <a:pt x="8775" y="4037"/>
                  </a:cubicBezTo>
                  <a:cubicBezTo>
                    <a:pt x="8710" y="4037"/>
                    <a:pt x="8710" y="4037"/>
                    <a:pt x="8710" y="4037"/>
                  </a:cubicBezTo>
                  <a:cubicBezTo>
                    <a:pt x="8676" y="4037"/>
                    <a:pt x="8589" y="3954"/>
                    <a:pt x="8589" y="3916"/>
                  </a:cubicBezTo>
                  <a:cubicBezTo>
                    <a:pt x="8589" y="3330"/>
                    <a:pt x="8589" y="3330"/>
                    <a:pt x="8589" y="3330"/>
                  </a:cubicBezTo>
                  <a:cubicBezTo>
                    <a:pt x="8589" y="3252"/>
                    <a:pt x="8775" y="3099"/>
                    <a:pt x="8925" y="3099"/>
                  </a:cubicBezTo>
                  <a:cubicBezTo>
                    <a:pt x="9049" y="3099"/>
                    <a:pt x="9107" y="3177"/>
                    <a:pt x="9107" y="3288"/>
                  </a:cubicBezTo>
                  <a:cubicBezTo>
                    <a:pt x="9107" y="3916"/>
                    <a:pt x="9107" y="3916"/>
                    <a:pt x="9107" y="3916"/>
                  </a:cubicBezTo>
                  <a:cubicBezTo>
                    <a:pt x="9107" y="3954"/>
                    <a:pt x="9020" y="4037"/>
                    <a:pt x="8986" y="4037"/>
                  </a:cubicBezTo>
                  <a:cubicBezTo>
                    <a:pt x="8921" y="4037"/>
                    <a:pt x="8921" y="4037"/>
                    <a:pt x="8921" y="4037"/>
                  </a:cubicBezTo>
                  <a:cubicBezTo>
                    <a:pt x="8921" y="4124"/>
                    <a:pt x="8921" y="4124"/>
                    <a:pt x="8921" y="4124"/>
                  </a:cubicBezTo>
                  <a:cubicBezTo>
                    <a:pt x="9504" y="4124"/>
                    <a:pt x="9504" y="4124"/>
                    <a:pt x="9504" y="4124"/>
                  </a:cubicBezTo>
                  <a:cubicBezTo>
                    <a:pt x="9504" y="4037"/>
                    <a:pt x="9504" y="4037"/>
                    <a:pt x="9504" y="4037"/>
                  </a:cubicBezTo>
                  <a:cubicBezTo>
                    <a:pt x="9439" y="4037"/>
                    <a:pt x="9439" y="4037"/>
                    <a:pt x="9439" y="4037"/>
                  </a:cubicBezTo>
                  <a:cubicBezTo>
                    <a:pt x="9405" y="4037"/>
                    <a:pt x="9318" y="3954"/>
                    <a:pt x="9318" y="3916"/>
                  </a:cubicBezTo>
                  <a:cubicBezTo>
                    <a:pt x="9318" y="3323"/>
                    <a:pt x="9318" y="3323"/>
                    <a:pt x="9318" y="3323"/>
                  </a:cubicBezTo>
                  <a:cubicBezTo>
                    <a:pt x="9318" y="3246"/>
                    <a:pt x="9504" y="3101"/>
                    <a:pt x="9654" y="3101"/>
                  </a:cubicBezTo>
                  <a:cubicBezTo>
                    <a:pt x="9778" y="3101"/>
                    <a:pt x="9833" y="3178"/>
                    <a:pt x="9833" y="3289"/>
                  </a:cubicBezTo>
                  <a:cubicBezTo>
                    <a:pt x="9833" y="3917"/>
                    <a:pt x="9833" y="3917"/>
                    <a:pt x="9833" y="3917"/>
                  </a:cubicBezTo>
                  <a:cubicBezTo>
                    <a:pt x="9833" y="3954"/>
                    <a:pt x="9746" y="4037"/>
                    <a:pt x="9712" y="4037"/>
                  </a:cubicBezTo>
                  <a:close/>
                  <a:moveTo>
                    <a:pt x="7623" y="2957"/>
                  </a:moveTo>
                  <a:cubicBezTo>
                    <a:pt x="7320" y="2957"/>
                    <a:pt x="7051" y="3184"/>
                    <a:pt x="7051" y="3555"/>
                  </a:cubicBezTo>
                  <a:cubicBezTo>
                    <a:pt x="7051" y="3926"/>
                    <a:pt x="7320" y="4156"/>
                    <a:pt x="7623" y="4156"/>
                  </a:cubicBezTo>
                  <a:cubicBezTo>
                    <a:pt x="7925" y="4156"/>
                    <a:pt x="8192" y="3926"/>
                    <a:pt x="8192" y="3555"/>
                  </a:cubicBezTo>
                  <a:cubicBezTo>
                    <a:pt x="8192" y="3185"/>
                    <a:pt x="7925" y="2957"/>
                    <a:pt x="7623" y="2957"/>
                  </a:cubicBezTo>
                  <a:close/>
                  <a:moveTo>
                    <a:pt x="7962" y="3741"/>
                  </a:moveTo>
                  <a:cubicBezTo>
                    <a:pt x="7940" y="3920"/>
                    <a:pt x="7841" y="4044"/>
                    <a:pt x="7625" y="4044"/>
                  </a:cubicBezTo>
                  <a:cubicBezTo>
                    <a:pt x="7415" y="4044"/>
                    <a:pt x="7315" y="3916"/>
                    <a:pt x="7289" y="3739"/>
                  </a:cubicBezTo>
                  <a:cubicBezTo>
                    <a:pt x="7272" y="3613"/>
                    <a:pt x="7272" y="3485"/>
                    <a:pt x="7289" y="3359"/>
                  </a:cubicBezTo>
                  <a:cubicBezTo>
                    <a:pt x="7315" y="3177"/>
                    <a:pt x="7420" y="3056"/>
                    <a:pt x="7625" y="3056"/>
                  </a:cubicBezTo>
                  <a:cubicBezTo>
                    <a:pt x="7839" y="3056"/>
                    <a:pt x="7940" y="3177"/>
                    <a:pt x="7962" y="3361"/>
                  </a:cubicBezTo>
                  <a:cubicBezTo>
                    <a:pt x="7976" y="3487"/>
                    <a:pt x="7976" y="3615"/>
                    <a:pt x="7962" y="3741"/>
                  </a:cubicBezTo>
                  <a:close/>
                  <a:moveTo>
                    <a:pt x="13826" y="3916"/>
                  </a:moveTo>
                  <a:cubicBezTo>
                    <a:pt x="13826" y="3288"/>
                    <a:pt x="13826" y="3288"/>
                    <a:pt x="13826" y="3288"/>
                  </a:cubicBezTo>
                  <a:cubicBezTo>
                    <a:pt x="13826" y="3092"/>
                    <a:pt x="13685" y="2961"/>
                    <a:pt x="13509" y="2961"/>
                  </a:cubicBezTo>
                  <a:cubicBezTo>
                    <a:pt x="13303" y="2961"/>
                    <a:pt x="13196" y="3080"/>
                    <a:pt x="13058" y="3221"/>
                  </a:cubicBezTo>
                  <a:cubicBezTo>
                    <a:pt x="13016" y="2986"/>
                    <a:pt x="13016" y="2986"/>
                    <a:pt x="13016" y="2986"/>
                  </a:cubicBezTo>
                  <a:cubicBezTo>
                    <a:pt x="12654" y="2986"/>
                    <a:pt x="12654" y="2986"/>
                    <a:pt x="12654" y="2986"/>
                  </a:cubicBezTo>
                  <a:cubicBezTo>
                    <a:pt x="12654" y="3073"/>
                    <a:pt x="12654" y="3073"/>
                    <a:pt x="12654" y="3073"/>
                  </a:cubicBezTo>
                  <a:cubicBezTo>
                    <a:pt x="12724" y="3073"/>
                    <a:pt x="12724" y="3073"/>
                    <a:pt x="12724" y="3073"/>
                  </a:cubicBezTo>
                  <a:cubicBezTo>
                    <a:pt x="12758" y="3073"/>
                    <a:pt x="12850" y="3158"/>
                    <a:pt x="12850" y="3194"/>
                  </a:cubicBezTo>
                  <a:cubicBezTo>
                    <a:pt x="12850" y="3915"/>
                    <a:pt x="12850" y="3915"/>
                    <a:pt x="12850" y="3915"/>
                  </a:cubicBezTo>
                  <a:cubicBezTo>
                    <a:pt x="12850" y="3954"/>
                    <a:pt x="12758" y="4036"/>
                    <a:pt x="12724" y="4036"/>
                  </a:cubicBezTo>
                  <a:cubicBezTo>
                    <a:pt x="12586" y="4036"/>
                    <a:pt x="12586" y="4036"/>
                    <a:pt x="12586" y="4036"/>
                  </a:cubicBezTo>
                  <a:cubicBezTo>
                    <a:pt x="12555" y="4036"/>
                    <a:pt x="12460" y="3954"/>
                    <a:pt x="12460" y="3915"/>
                  </a:cubicBezTo>
                  <a:cubicBezTo>
                    <a:pt x="12460" y="3302"/>
                    <a:pt x="12460" y="3302"/>
                    <a:pt x="12460" y="3302"/>
                  </a:cubicBezTo>
                  <a:cubicBezTo>
                    <a:pt x="12460" y="3077"/>
                    <a:pt x="12267" y="2956"/>
                    <a:pt x="12020" y="2956"/>
                  </a:cubicBezTo>
                  <a:cubicBezTo>
                    <a:pt x="11787" y="2956"/>
                    <a:pt x="11639" y="3041"/>
                    <a:pt x="11545" y="3138"/>
                  </a:cubicBezTo>
                  <a:cubicBezTo>
                    <a:pt x="11698" y="3367"/>
                    <a:pt x="11698" y="3367"/>
                    <a:pt x="11698" y="3367"/>
                  </a:cubicBezTo>
                  <a:cubicBezTo>
                    <a:pt x="11780" y="3367"/>
                    <a:pt x="11780" y="3367"/>
                    <a:pt x="11780" y="3367"/>
                  </a:cubicBezTo>
                  <a:cubicBezTo>
                    <a:pt x="11695" y="3171"/>
                    <a:pt x="11773" y="3041"/>
                    <a:pt x="11969" y="3041"/>
                  </a:cubicBezTo>
                  <a:cubicBezTo>
                    <a:pt x="12175" y="3041"/>
                    <a:pt x="12252" y="3138"/>
                    <a:pt x="12250" y="3300"/>
                  </a:cubicBezTo>
                  <a:cubicBezTo>
                    <a:pt x="12247" y="3435"/>
                    <a:pt x="12247" y="3435"/>
                    <a:pt x="12247" y="3435"/>
                  </a:cubicBezTo>
                  <a:cubicBezTo>
                    <a:pt x="11952" y="3496"/>
                    <a:pt x="11952" y="3496"/>
                    <a:pt x="11952" y="3496"/>
                  </a:cubicBezTo>
                  <a:cubicBezTo>
                    <a:pt x="11790" y="3531"/>
                    <a:pt x="11578" y="3608"/>
                    <a:pt x="11578" y="3836"/>
                  </a:cubicBezTo>
                  <a:cubicBezTo>
                    <a:pt x="11578" y="4023"/>
                    <a:pt x="11714" y="4146"/>
                    <a:pt x="11871" y="4146"/>
                  </a:cubicBezTo>
                  <a:cubicBezTo>
                    <a:pt x="12041" y="4146"/>
                    <a:pt x="12162" y="4008"/>
                    <a:pt x="12254" y="3890"/>
                  </a:cubicBezTo>
                  <a:cubicBezTo>
                    <a:pt x="12283" y="4125"/>
                    <a:pt x="12283" y="4125"/>
                    <a:pt x="12283" y="4125"/>
                  </a:cubicBezTo>
                  <a:cubicBezTo>
                    <a:pt x="13251" y="4125"/>
                    <a:pt x="13251" y="4125"/>
                    <a:pt x="13251" y="4125"/>
                  </a:cubicBezTo>
                  <a:cubicBezTo>
                    <a:pt x="13251" y="4038"/>
                    <a:pt x="13251" y="4038"/>
                    <a:pt x="13251" y="4038"/>
                  </a:cubicBezTo>
                  <a:cubicBezTo>
                    <a:pt x="13186" y="4038"/>
                    <a:pt x="13186" y="4038"/>
                    <a:pt x="13186" y="4038"/>
                  </a:cubicBezTo>
                  <a:cubicBezTo>
                    <a:pt x="13152" y="4038"/>
                    <a:pt x="13060" y="3955"/>
                    <a:pt x="13060" y="3917"/>
                  </a:cubicBezTo>
                  <a:cubicBezTo>
                    <a:pt x="13060" y="3342"/>
                    <a:pt x="13060" y="3342"/>
                    <a:pt x="13060" y="3342"/>
                  </a:cubicBezTo>
                  <a:cubicBezTo>
                    <a:pt x="13060" y="3264"/>
                    <a:pt x="13271" y="3104"/>
                    <a:pt x="13433" y="3104"/>
                  </a:cubicBezTo>
                  <a:cubicBezTo>
                    <a:pt x="13557" y="3104"/>
                    <a:pt x="13615" y="3190"/>
                    <a:pt x="13615" y="3301"/>
                  </a:cubicBezTo>
                  <a:cubicBezTo>
                    <a:pt x="13615" y="3916"/>
                    <a:pt x="13615" y="3916"/>
                    <a:pt x="13615" y="3916"/>
                  </a:cubicBezTo>
                  <a:cubicBezTo>
                    <a:pt x="13615" y="3954"/>
                    <a:pt x="13523" y="4037"/>
                    <a:pt x="13489" y="4037"/>
                  </a:cubicBezTo>
                  <a:cubicBezTo>
                    <a:pt x="13423" y="4037"/>
                    <a:pt x="13423" y="4037"/>
                    <a:pt x="13423" y="4037"/>
                  </a:cubicBezTo>
                  <a:cubicBezTo>
                    <a:pt x="13423" y="4124"/>
                    <a:pt x="13423" y="4124"/>
                    <a:pt x="13423" y="4124"/>
                  </a:cubicBezTo>
                  <a:cubicBezTo>
                    <a:pt x="14022" y="4124"/>
                    <a:pt x="14022" y="4124"/>
                    <a:pt x="14022" y="4124"/>
                  </a:cubicBezTo>
                  <a:cubicBezTo>
                    <a:pt x="14022" y="4037"/>
                    <a:pt x="14022" y="4037"/>
                    <a:pt x="14022" y="4037"/>
                  </a:cubicBezTo>
                  <a:cubicBezTo>
                    <a:pt x="13952" y="4037"/>
                    <a:pt x="13952" y="4037"/>
                    <a:pt x="13952" y="4037"/>
                  </a:cubicBezTo>
                  <a:cubicBezTo>
                    <a:pt x="13918" y="4037"/>
                    <a:pt x="13826" y="3954"/>
                    <a:pt x="13826" y="3916"/>
                  </a:cubicBezTo>
                  <a:close/>
                  <a:moveTo>
                    <a:pt x="12250" y="3787"/>
                  </a:moveTo>
                  <a:cubicBezTo>
                    <a:pt x="12201" y="3873"/>
                    <a:pt x="12080" y="3988"/>
                    <a:pt x="11969" y="3988"/>
                  </a:cubicBezTo>
                  <a:cubicBezTo>
                    <a:pt x="11872" y="3993"/>
                    <a:pt x="11789" y="3918"/>
                    <a:pt x="11785" y="3820"/>
                  </a:cubicBezTo>
                  <a:cubicBezTo>
                    <a:pt x="11785" y="3816"/>
                    <a:pt x="11785" y="3811"/>
                    <a:pt x="11785" y="3807"/>
                  </a:cubicBezTo>
                  <a:cubicBezTo>
                    <a:pt x="11785" y="3693"/>
                    <a:pt x="11833" y="3618"/>
                    <a:pt x="11977" y="3582"/>
                  </a:cubicBezTo>
                  <a:cubicBezTo>
                    <a:pt x="12251" y="3511"/>
                    <a:pt x="12251" y="3511"/>
                    <a:pt x="12251" y="3511"/>
                  </a:cubicBezTo>
                  <a:lnTo>
                    <a:pt x="12250" y="3787"/>
                  </a:lnTo>
                  <a:close/>
                  <a:moveTo>
                    <a:pt x="8336" y="1790"/>
                  </a:moveTo>
                  <a:cubicBezTo>
                    <a:pt x="8617" y="1790"/>
                    <a:pt x="8765" y="1637"/>
                    <a:pt x="8840" y="1388"/>
                  </a:cubicBezTo>
                  <a:cubicBezTo>
                    <a:pt x="8769" y="1388"/>
                    <a:pt x="8769" y="1388"/>
                    <a:pt x="8769" y="1388"/>
                  </a:cubicBezTo>
                  <a:cubicBezTo>
                    <a:pt x="8697" y="1519"/>
                    <a:pt x="8605" y="1584"/>
                    <a:pt x="8411" y="1584"/>
                  </a:cubicBezTo>
                  <a:cubicBezTo>
                    <a:pt x="8152" y="1584"/>
                    <a:pt x="8002" y="1349"/>
                    <a:pt x="7997" y="1141"/>
                  </a:cubicBezTo>
                  <a:cubicBezTo>
                    <a:pt x="8758" y="1080"/>
                    <a:pt x="8758" y="1080"/>
                    <a:pt x="8758" y="1080"/>
                  </a:cubicBezTo>
                  <a:cubicBezTo>
                    <a:pt x="8753" y="997"/>
                    <a:pt x="8753" y="997"/>
                    <a:pt x="8753" y="997"/>
                  </a:cubicBezTo>
                  <a:cubicBezTo>
                    <a:pt x="8740" y="774"/>
                    <a:pt x="8595" y="600"/>
                    <a:pt x="8336" y="598"/>
                  </a:cubicBezTo>
                  <a:cubicBezTo>
                    <a:pt x="8041" y="595"/>
                    <a:pt x="7811" y="857"/>
                    <a:pt x="7811" y="1196"/>
                  </a:cubicBezTo>
                  <a:cubicBezTo>
                    <a:pt x="7811" y="1519"/>
                    <a:pt x="8033" y="1790"/>
                    <a:pt x="8336" y="1790"/>
                  </a:cubicBezTo>
                  <a:close/>
                  <a:moveTo>
                    <a:pt x="8331" y="686"/>
                  </a:moveTo>
                  <a:cubicBezTo>
                    <a:pt x="8554" y="686"/>
                    <a:pt x="8578" y="850"/>
                    <a:pt x="8559" y="1013"/>
                  </a:cubicBezTo>
                  <a:cubicBezTo>
                    <a:pt x="7990" y="1061"/>
                    <a:pt x="7990" y="1061"/>
                    <a:pt x="7990" y="1061"/>
                  </a:cubicBezTo>
                  <a:cubicBezTo>
                    <a:pt x="7997" y="882"/>
                    <a:pt x="8094" y="686"/>
                    <a:pt x="8331" y="686"/>
                  </a:cubicBezTo>
                  <a:close/>
                  <a:moveTo>
                    <a:pt x="8947" y="843"/>
                  </a:moveTo>
                  <a:cubicBezTo>
                    <a:pt x="9349" y="1635"/>
                    <a:pt x="9349" y="1635"/>
                    <a:pt x="9349" y="1635"/>
                  </a:cubicBezTo>
                  <a:cubicBezTo>
                    <a:pt x="9005" y="2259"/>
                    <a:pt x="9005" y="2259"/>
                    <a:pt x="9005" y="2259"/>
                  </a:cubicBezTo>
                  <a:cubicBezTo>
                    <a:pt x="9105" y="2310"/>
                    <a:pt x="9105" y="2310"/>
                    <a:pt x="9105" y="2310"/>
                  </a:cubicBezTo>
                  <a:cubicBezTo>
                    <a:pt x="9444" y="1669"/>
                    <a:pt x="9444" y="1669"/>
                    <a:pt x="9444" y="1669"/>
                  </a:cubicBezTo>
                  <a:cubicBezTo>
                    <a:pt x="9828" y="839"/>
                    <a:pt x="9828" y="839"/>
                    <a:pt x="9828" y="839"/>
                  </a:cubicBezTo>
                  <a:cubicBezTo>
                    <a:pt x="9853" y="800"/>
                    <a:pt x="9935" y="713"/>
                    <a:pt x="9962" y="713"/>
                  </a:cubicBezTo>
                  <a:cubicBezTo>
                    <a:pt x="10015" y="713"/>
                    <a:pt x="10015" y="713"/>
                    <a:pt x="10015" y="713"/>
                  </a:cubicBezTo>
                  <a:cubicBezTo>
                    <a:pt x="10015" y="626"/>
                    <a:pt x="10015" y="626"/>
                    <a:pt x="10015" y="626"/>
                  </a:cubicBezTo>
                  <a:cubicBezTo>
                    <a:pt x="9553" y="626"/>
                    <a:pt x="9553" y="626"/>
                    <a:pt x="9553" y="626"/>
                  </a:cubicBezTo>
                  <a:cubicBezTo>
                    <a:pt x="9553" y="713"/>
                    <a:pt x="9553" y="713"/>
                    <a:pt x="9553" y="713"/>
                  </a:cubicBezTo>
                  <a:cubicBezTo>
                    <a:pt x="9623" y="713"/>
                    <a:pt x="9623" y="713"/>
                    <a:pt x="9623" y="713"/>
                  </a:cubicBezTo>
                  <a:cubicBezTo>
                    <a:pt x="9654" y="713"/>
                    <a:pt x="9725" y="793"/>
                    <a:pt x="9722" y="839"/>
                  </a:cubicBezTo>
                  <a:cubicBezTo>
                    <a:pt x="9470" y="1398"/>
                    <a:pt x="9470" y="1398"/>
                    <a:pt x="9470" y="1398"/>
                  </a:cubicBezTo>
                  <a:cubicBezTo>
                    <a:pt x="9194" y="836"/>
                    <a:pt x="9194" y="836"/>
                    <a:pt x="9194" y="836"/>
                  </a:cubicBezTo>
                  <a:cubicBezTo>
                    <a:pt x="9194" y="794"/>
                    <a:pt x="9262" y="713"/>
                    <a:pt x="9293" y="713"/>
                  </a:cubicBezTo>
                  <a:cubicBezTo>
                    <a:pt x="9364" y="713"/>
                    <a:pt x="9364" y="713"/>
                    <a:pt x="9364" y="713"/>
                  </a:cubicBezTo>
                  <a:cubicBezTo>
                    <a:pt x="9364" y="626"/>
                    <a:pt x="9364" y="626"/>
                    <a:pt x="9364" y="626"/>
                  </a:cubicBezTo>
                  <a:cubicBezTo>
                    <a:pt x="8749" y="626"/>
                    <a:pt x="8749" y="626"/>
                    <a:pt x="8749" y="626"/>
                  </a:cubicBezTo>
                  <a:cubicBezTo>
                    <a:pt x="8749" y="713"/>
                    <a:pt x="8749" y="713"/>
                    <a:pt x="8749" y="713"/>
                  </a:cubicBezTo>
                  <a:cubicBezTo>
                    <a:pt x="8800" y="713"/>
                    <a:pt x="8800" y="713"/>
                    <a:pt x="8800" y="713"/>
                  </a:cubicBezTo>
                  <a:cubicBezTo>
                    <a:pt x="8829" y="712"/>
                    <a:pt x="8928" y="807"/>
                    <a:pt x="8947" y="843"/>
                  </a:cubicBezTo>
                  <a:close/>
                  <a:moveTo>
                    <a:pt x="5117" y="349"/>
                  </a:moveTo>
                  <a:cubicBezTo>
                    <a:pt x="5195" y="353"/>
                    <a:pt x="5261" y="293"/>
                    <a:pt x="5265" y="215"/>
                  </a:cubicBezTo>
                  <a:cubicBezTo>
                    <a:pt x="5265" y="210"/>
                    <a:pt x="5265" y="206"/>
                    <a:pt x="5265" y="201"/>
                  </a:cubicBezTo>
                  <a:cubicBezTo>
                    <a:pt x="5265" y="112"/>
                    <a:pt x="5202" y="56"/>
                    <a:pt x="5117" y="56"/>
                  </a:cubicBezTo>
                  <a:cubicBezTo>
                    <a:pt x="5032" y="56"/>
                    <a:pt x="4967" y="112"/>
                    <a:pt x="4967" y="201"/>
                  </a:cubicBezTo>
                  <a:cubicBezTo>
                    <a:pt x="4965" y="280"/>
                    <a:pt x="5026" y="346"/>
                    <a:pt x="5105" y="349"/>
                  </a:cubicBezTo>
                  <a:cubicBezTo>
                    <a:pt x="5109" y="349"/>
                    <a:pt x="5113" y="349"/>
                    <a:pt x="5117" y="349"/>
                  </a:cubicBezTo>
                  <a:close/>
                  <a:moveTo>
                    <a:pt x="3836" y="1676"/>
                  </a:moveTo>
                  <a:cubicBezTo>
                    <a:pt x="3749" y="1676"/>
                    <a:pt x="3749" y="1676"/>
                    <a:pt x="3749" y="1676"/>
                  </a:cubicBezTo>
                  <a:cubicBezTo>
                    <a:pt x="3715" y="1676"/>
                    <a:pt x="3613" y="1579"/>
                    <a:pt x="3613" y="1543"/>
                  </a:cubicBezTo>
                  <a:cubicBezTo>
                    <a:pt x="3613" y="1075"/>
                    <a:pt x="3613" y="1075"/>
                    <a:pt x="3613" y="1075"/>
                  </a:cubicBezTo>
                  <a:cubicBezTo>
                    <a:pt x="3793" y="882"/>
                    <a:pt x="3793" y="882"/>
                    <a:pt x="3793" y="882"/>
                  </a:cubicBezTo>
                  <a:cubicBezTo>
                    <a:pt x="4403" y="1763"/>
                    <a:pt x="4403" y="1763"/>
                    <a:pt x="4403" y="1763"/>
                  </a:cubicBezTo>
                  <a:cubicBezTo>
                    <a:pt x="6040" y="1763"/>
                    <a:pt x="6040" y="1763"/>
                    <a:pt x="6040" y="1763"/>
                  </a:cubicBezTo>
                  <a:cubicBezTo>
                    <a:pt x="6040" y="1676"/>
                    <a:pt x="6040" y="1676"/>
                    <a:pt x="6040" y="1676"/>
                  </a:cubicBezTo>
                  <a:cubicBezTo>
                    <a:pt x="5974" y="1676"/>
                    <a:pt x="5974" y="1676"/>
                    <a:pt x="5974" y="1676"/>
                  </a:cubicBezTo>
                  <a:cubicBezTo>
                    <a:pt x="5940" y="1676"/>
                    <a:pt x="5848" y="1594"/>
                    <a:pt x="5848" y="1555"/>
                  </a:cubicBezTo>
                  <a:cubicBezTo>
                    <a:pt x="5848" y="981"/>
                    <a:pt x="5848" y="981"/>
                    <a:pt x="5848" y="981"/>
                  </a:cubicBezTo>
                  <a:cubicBezTo>
                    <a:pt x="5848" y="904"/>
                    <a:pt x="6059" y="744"/>
                    <a:pt x="6221" y="744"/>
                  </a:cubicBezTo>
                  <a:cubicBezTo>
                    <a:pt x="6345" y="744"/>
                    <a:pt x="6403" y="829"/>
                    <a:pt x="6403" y="940"/>
                  </a:cubicBezTo>
                  <a:cubicBezTo>
                    <a:pt x="6403" y="1555"/>
                    <a:pt x="6403" y="1555"/>
                    <a:pt x="6403" y="1555"/>
                  </a:cubicBezTo>
                  <a:cubicBezTo>
                    <a:pt x="6403" y="1594"/>
                    <a:pt x="6311" y="1676"/>
                    <a:pt x="6277" y="1676"/>
                  </a:cubicBezTo>
                  <a:cubicBezTo>
                    <a:pt x="6211" y="1676"/>
                    <a:pt x="6211" y="1676"/>
                    <a:pt x="6211" y="1676"/>
                  </a:cubicBezTo>
                  <a:cubicBezTo>
                    <a:pt x="6211" y="1763"/>
                    <a:pt x="6211" y="1763"/>
                    <a:pt x="6211" y="1763"/>
                  </a:cubicBezTo>
                  <a:cubicBezTo>
                    <a:pt x="6810" y="1763"/>
                    <a:pt x="6810" y="1763"/>
                    <a:pt x="6810" y="1763"/>
                  </a:cubicBezTo>
                  <a:cubicBezTo>
                    <a:pt x="6810" y="1676"/>
                    <a:pt x="6810" y="1676"/>
                    <a:pt x="6810" y="1676"/>
                  </a:cubicBezTo>
                  <a:cubicBezTo>
                    <a:pt x="6739" y="1676"/>
                    <a:pt x="6739" y="1676"/>
                    <a:pt x="6739" y="1676"/>
                  </a:cubicBezTo>
                  <a:cubicBezTo>
                    <a:pt x="6706" y="1676"/>
                    <a:pt x="6613" y="1594"/>
                    <a:pt x="6613" y="1555"/>
                  </a:cubicBezTo>
                  <a:cubicBezTo>
                    <a:pt x="6613" y="928"/>
                    <a:pt x="6613" y="928"/>
                    <a:pt x="6613" y="928"/>
                  </a:cubicBezTo>
                  <a:cubicBezTo>
                    <a:pt x="6613" y="732"/>
                    <a:pt x="6473" y="601"/>
                    <a:pt x="6296" y="601"/>
                  </a:cubicBezTo>
                  <a:cubicBezTo>
                    <a:pt x="6091" y="601"/>
                    <a:pt x="5984" y="720"/>
                    <a:pt x="5846" y="860"/>
                  </a:cubicBezTo>
                  <a:cubicBezTo>
                    <a:pt x="5803" y="625"/>
                    <a:pt x="5803" y="625"/>
                    <a:pt x="5803" y="625"/>
                  </a:cubicBezTo>
                  <a:cubicBezTo>
                    <a:pt x="5441" y="625"/>
                    <a:pt x="5441" y="625"/>
                    <a:pt x="5441" y="625"/>
                  </a:cubicBezTo>
                  <a:cubicBezTo>
                    <a:pt x="5441" y="712"/>
                    <a:pt x="5441" y="712"/>
                    <a:pt x="5441" y="712"/>
                  </a:cubicBezTo>
                  <a:cubicBezTo>
                    <a:pt x="5512" y="712"/>
                    <a:pt x="5512" y="712"/>
                    <a:pt x="5512" y="712"/>
                  </a:cubicBezTo>
                  <a:cubicBezTo>
                    <a:pt x="5546" y="712"/>
                    <a:pt x="5638" y="798"/>
                    <a:pt x="5638" y="833"/>
                  </a:cubicBezTo>
                  <a:cubicBezTo>
                    <a:pt x="5638" y="1555"/>
                    <a:pt x="5638" y="1555"/>
                    <a:pt x="5638" y="1555"/>
                  </a:cubicBezTo>
                  <a:cubicBezTo>
                    <a:pt x="5638" y="1593"/>
                    <a:pt x="5546" y="1676"/>
                    <a:pt x="5512" y="1676"/>
                  </a:cubicBezTo>
                  <a:cubicBezTo>
                    <a:pt x="5371" y="1676"/>
                    <a:pt x="5371" y="1676"/>
                    <a:pt x="5371" y="1676"/>
                  </a:cubicBezTo>
                  <a:cubicBezTo>
                    <a:pt x="5340" y="1676"/>
                    <a:pt x="5245" y="1593"/>
                    <a:pt x="5245" y="1555"/>
                  </a:cubicBezTo>
                  <a:cubicBezTo>
                    <a:pt x="5245" y="625"/>
                    <a:pt x="5245" y="625"/>
                    <a:pt x="5245" y="625"/>
                  </a:cubicBezTo>
                  <a:cubicBezTo>
                    <a:pt x="4836" y="625"/>
                    <a:pt x="4836" y="625"/>
                    <a:pt x="4836" y="625"/>
                  </a:cubicBezTo>
                  <a:cubicBezTo>
                    <a:pt x="4836" y="712"/>
                    <a:pt x="4836" y="712"/>
                    <a:pt x="4836" y="712"/>
                  </a:cubicBezTo>
                  <a:cubicBezTo>
                    <a:pt x="4906" y="712"/>
                    <a:pt x="4906" y="712"/>
                    <a:pt x="4906" y="712"/>
                  </a:cubicBezTo>
                  <a:cubicBezTo>
                    <a:pt x="4940" y="712"/>
                    <a:pt x="5032" y="798"/>
                    <a:pt x="5032" y="833"/>
                  </a:cubicBezTo>
                  <a:cubicBezTo>
                    <a:pt x="5032" y="1555"/>
                    <a:pt x="5032" y="1555"/>
                    <a:pt x="5032" y="1555"/>
                  </a:cubicBezTo>
                  <a:cubicBezTo>
                    <a:pt x="5032" y="1594"/>
                    <a:pt x="4940" y="1676"/>
                    <a:pt x="4906" y="1676"/>
                  </a:cubicBezTo>
                  <a:cubicBezTo>
                    <a:pt x="4778" y="1676"/>
                    <a:pt x="4778" y="1676"/>
                    <a:pt x="4778" y="1676"/>
                  </a:cubicBezTo>
                  <a:cubicBezTo>
                    <a:pt x="4742" y="1676"/>
                    <a:pt x="4599" y="1567"/>
                    <a:pt x="4570" y="1528"/>
                  </a:cubicBezTo>
                  <a:cubicBezTo>
                    <a:pt x="3953" y="707"/>
                    <a:pt x="3953" y="707"/>
                    <a:pt x="3953" y="707"/>
                  </a:cubicBezTo>
                  <a:cubicBezTo>
                    <a:pt x="4381" y="247"/>
                    <a:pt x="4381" y="247"/>
                    <a:pt x="4381" y="247"/>
                  </a:cubicBezTo>
                  <a:cubicBezTo>
                    <a:pt x="4405" y="221"/>
                    <a:pt x="4572" y="88"/>
                    <a:pt x="4606" y="88"/>
                  </a:cubicBezTo>
                  <a:cubicBezTo>
                    <a:pt x="4692" y="88"/>
                    <a:pt x="4692" y="88"/>
                    <a:pt x="4692" y="88"/>
                  </a:cubicBezTo>
                  <a:cubicBezTo>
                    <a:pt x="4692" y="0"/>
                    <a:pt x="4692" y="0"/>
                    <a:pt x="4692" y="0"/>
                  </a:cubicBezTo>
                  <a:cubicBezTo>
                    <a:pt x="4052" y="0"/>
                    <a:pt x="4052" y="0"/>
                    <a:pt x="4052" y="0"/>
                  </a:cubicBezTo>
                  <a:cubicBezTo>
                    <a:pt x="4052" y="88"/>
                    <a:pt x="4052" y="88"/>
                    <a:pt x="4052" y="88"/>
                  </a:cubicBezTo>
                  <a:cubicBezTo>
                    <a:pt x="4137" y="88"/>
                    <a:pt x="4137" y="88"/>
                    <a:pt x="4137" y="88"/>
                  </a:cubicBezTo>
                  <a:cubicBezTo>
                    <a:pt x="4171" y="88"/>
                    <a:pt x="4270" y="209"/>
                    <a:pt x="4244" y="240"/>
                  </a:cubicBezTo>
                  <a:cubicBezTo>
                    <a:pt x="3614" y="942"/>
                    <a:pt x="3614" y="942"/>
                    <a:pt x="3614" y="942"/>
                  </a:cubicBezTo>
                  <a:cubicBezTo>
                    <a:pt x="3614" y="221"/>
                    <a:pt x="3614" y="221"/>
                    <a:pt x="3614" y="221"/>
                  </a:cubicBezTo>
                  <a:cubicBezTo>
                    <a:pt x="3614" y="184"/>
                    <a:pt x="3716" y="88"/>
                    <a:pt x="3750" y="88"/>
                  </a:cubicBezTo>
                  <a:cubicBezTo>
                    <a:pt x="3837" y="88"/>
                    <a:pt x="3837" y="88"/>
                    <a:pt x="3837" y="88"/>
                  </a:cubicBezTo>
                  <a:cubicBezTo>
                    <a:pt x="3837" y="0"/>
                    <a:pt x="3837" y="0"/>
                    <a:pt x="3837" y="0"/>
                  </a:cubicBezTo>
                  <a:cubicBezTo>
                    <a:pt x="3149" y="0"/>
                    <a:pt x="3149" y="0"/>
                    <a:pt x="3149" y="0"/>
                  </a:cubicBezTo>
                  <a:cubicBezTo>
                    <a:pt x="3149" y="88"/>
                    <a:pt x="3149" y="88"/>
                    <a:pt x="3149" y="88"/>
                  </a:cubicBezTo>
                  <a:cubicBezTo>
                    <a:pt x="3236" y="88"/>
                    <a:pt x="3236" y="88"/>
                    <a:pt x="3236" y="88"/>
                  </a:cubicBezTo>
                  <a:cubicBezTo>
                    <a:pt x="3270" y="88"/>
                    <a:pt x="3371" y="184"/>
                    <a:pt x="3371" y="221"/>
                  </a:cubicBezTo>
                  <a:cubicBezTo>
                    <a:pt x="3371" y="1543"/>
                    <a:pt x="3371" y="1543"/>
                    <a:pt x="3371" y="1543"/>
                  </a:cubicBezTo>
                  <a:cubicBezTo>
                    <a:pt x="3371" y="1579"/>
                    <a:pt x="3270" y="1676"/>
                    <a:pt x="3236" y="1676"/>
                  </a:cubicBezTo>
                  <a:cubicBezTo>
                    <a:pt x="3149" y="1676"/>
                    <a:pt x="3149" y="1676"/>
                    <a:pt x="3149" y="1676"/>
                  </a:cubicBezTo>
                  <a:cubicBezTo>
                    <a:pt x="3149" y="1763"/>
                    <a:pt x="3149" y="1763"/>
                    <a:pt x="3149" y="1763"/>
                  </a:cubicBezTo>
                  <a:cubicBezTo>
                    <a:pt x="3836" y="1763"/>
                    <a:pt x="3836" y="1763"/>
                    <a:pt x="3836" y="1763"/>
                  </a:cubicBezTo>
                  <a:lnTo>
                    <a:pt x="3836" y="1676"/>
                  </a:lnTo>
                  <a:close/>
                  <a:moveTo>
                    <a:pt x="7720" y="1446"/>
                  </a:moveTo>
                  <a:cubicBezTo>
                    <a:pt x="7720" y="1262"/>
                    <a:pt x="7579" y="1163"/>
                    <a:pt x="7456" y="1114"/>
                  </a:cubicBezTo>
                  <a:cubicBezTo>
                    <a:pt x="7361" y="1078"/>
                    <a:pt x="7296" y="1049"/>
                    <a:pt x="7209" y="1013"/>
                  </a:cubicBezTo>
                  <a:cubicBezTo>
                    <a:pt x="7090" y="962"/>
                    <a:pt x="7023" y="927"/>
                    <a:pt x="7023" y="829"/>
                  </a:cubicBezTo>
                  <a:cubicBezTo>
                    <a:pt x="7023" y="739"/>
                    <a:pt x="7085" y="683"/>
                    <a:pt x="7219" y="683"/>
                  </a:cubicBezTo>
                  <a:cubicBezTo>
                    <a:pt x="7432" y="683"/>
                    <a:pt x="7565" y="884"/>
                    <a:pt x="7565" y="979"/>
                  </a:cubicBezTo>
                  <a:cubicBezTo>
                    <a:pt x="7635" y="979"/>
                    <a:pt x="7635" y="979"/>
                    <a:pt x="7635" y="979"/>
                  </a:cubicBezTo>
                  <a:cubicBezTo>
                    <a:pt x="7635" y="625"/>
                    <a:pt x="7635" y="625"/>
                    <a:pt x="7635" y="625"/>
                  </a:cubicBezTo>
                  <a:cubicBezTo>
                    <a:pt x="7572" y="625"/>
                    <a:pt x="7572" y="625"/>
                    <a:pt x="7572" y="625"/>
                  </a:cubicBezTo>
                  <a:cubicBezTo>
                    <a:pt x="7562" y="649"/>
                    <a:pt x="7543" y="657"/>
                    <a:pt x="7509" y="657"/>
                  </a:cubicBezTo>
                  <a:cubicBezTo>
                    <a:pt x="7422" y="657"/>
                    <a:pt x="7352" y="598"/>
                    <a:pt x="7226" y="598"/>
                  </a:cubicBezTo>
                  <a:cubicBezTo>
                    <a:pt x="7015" y="598"/>
                    <a:pt x="6882" y="707"/>
                    <a:pt x="6882" y="913"/>
                  </a:cubicBezTo>
                  <a:cubicBezTo>
                    <a:pt x="6882" y="1071"/>
                    <a:pt x="6986" y="1160"/>
                    <a:pt x="7124" y="1223"/>
                  </a:cubicBezTo>
                  <a:cubicBezTo>
                    <a:pt x="7216" y="1264"/>
                    <a:pt x="7282" y="1291"/>
                    <a:pt x="7361" y="1325"/>
                  </a:cubicBezTo>
                  <a:cubicBezTo>
                    <a:pt x="7463" y="1367"/>
                    <a:pt x="7577" y="1412"/>
                    <a:pt x="7577" y="1540"/>
                  </a:cubicBezTo>
                  <a:cubicBezTo>
                    <a:pt x="7577" y="1647"/>
                    <a:pt x="7497" y="1695"/>
                    <a:pt x="7354" y="1695"/>
                  </a:cubicBezTo>
                  <a:cubicBezTo>
                    <a:pt x="7107" y="1695"/>
                    <a:pt x="6952" y="1468"/>
                    <a:pt x="6952" y="1361"/>
                  </a:cubicBezTo>
                  <a:cubicBezTo>
                    <a:pt x="6882" y="1361"/>
                    <a:pt x="6882" y="1361"/>
                    <a:pt x="6882" y="1361"/>
                  </a:cubicBezTo>
                  <a:cubicBezTo>
                    <a:pt x="6882" y="1763"/>
                    <a:pt x="6882" y="1763"/>
                    <a:pt x="6882" y="1763"/>
                  </a:cubicBezTo>
                  <a:cubicBezTo>
                    <a:pt x="6938" y="1763"/>
                    <a:pt x="6938" y="1763"/>
                    <a:pt x="6938" y="1763"/>
                  </a:cubicBezTo>
                  <a:cubicBezTo>
                    <a:pt x="6967" y="1737"/>
                    <a:pt x="6979" y="1725"/>
                    <a:pt x="7025" y="1725"/>
                  </a:cubicBezTo>
                  <a:cubicBezTo>
                    <a:pt x="7124" y="1725"/>
                    <a:pt x="7209" y="1790"/>
                    <a:pt x="7354" y="1790"/>
                  </a:cubicBezTo>
                  <a:cubicBezTo>
                    <a:pt x="7570" y="1790"/>
                    <a:pt x="7720" y="1664"/>
                    <a:pt x="7720" y="1446"/>
                  </a:cubicBezTo>
                  <a:close/>
                  <a:moveTo>
                    <a:pt x="2703" y="1584"/>
                  </a:moveTo>
                  <a:cubicBezTo>
                    <a:pt x="2442" y="1584"/>
                    <a:pt x="2282" y="1383"/>
                    <a:pt x="2282" y="1129"/>
                  </a:cubicBezTo>
                  <a:cubicBezTo>
                    <a:pt x="2282" y="860"/>
                    <a:pt x="2391" y="683"/>
                    <a:pt x="2618" y="683"/>
                  </a:cubicBezTo>
                  <a:cubicBezTo>
                    <a:pt x="2815" y="683"/>
                    <a:pt x="2844" y="840"/>
                    <a:pt x="2812" y="1017"/>
                  </a:cubicBezTo>
                  <a:cubicBezTo>
                    <a:pt x="2882" y="1013"/>
                    <a:pt x="2882" y="1013"/>
                    <a:pt x="2882" y="1013"/>
                  </a:cubicBezTo>
                  <a:cubicBezTo>
                    <a:pt x="3049" y="753"/>
                    <a:pt x="3049" y="753"/>
                    <a:pt x="3049" y="753"/>
                  </a:cubicBezTo>
                  <a:cubicBezTo>
                    <a:pt x="2945" y="649"/>
                    <a:pt x="2824" y="596"/>
                    <a:pt x="2645" y="596"/>
                  </a:cubicBezTo>
                  <a:cubicBezTo>
                    <a:pt x="2345" y="596"/>
                    <a:pt x="2100" y="833"/>
                    <a:pt x="2100" y="1201"/>
                  </a:cubicBezTo>
                  <a:cubicBezTo>
                    <a:pt x="2100" y="1526"/>
                    <a:pt x="2306" y="1792"/>
                    <a:pt x="2623" y="1792"/>
                  </a:cubicBezTo>
                  <a:cubicBezTo>
                    <a:pt x="2909" y="1792"/>
                    <a:pt x="3061" y="1635"/>
                    <a:pt x="3136" y="1386"/>
                  </a:cubicBezTo>
                  <a:cubicBezTo>
                    <a:pt x="3066" y="1386"/>
                    <a:pt x="3066" y="1386"/>
                    <a:pt x="3066" y="1386"/>
                  </a:cubicBezTo>
                  <a:cubicBezTo>
                    <a:pt x="2986" y="1519"/>
                    <a:pt x="2902" y="1584"/>
                    <a:pt x="2703" y="1584"/>
                  </a:cubicBezTo>
                  <a:close/>
                  <a:moveTo>
                    <a:pt x="1053" y="1322"/>
                  </a:moveTo>
                  <a:cubicBezTo>
                    <a:pt x="1041" y="1322"/>
                    <a:pt x="1041" y="1322"/>
                    <a:pt x="1041" y="1322"/>
                  </a:cubicBezTo>
                  <a:cubicBezTo>
                    <a:pt x="511" y="0"/>
                    <a:pt x="511" y="0"/>
                    <a:pt x="51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87" y="88"/>
                    <a:pt x="87" y="88"/>
                    <a:pt x="87" y="88"/>
                  </a:cubicBezTo>
                  <a:cubicBezTo>
                    <a:pt x="121" y="88"/>
                    <a:pt x="223" y="184"/>
                    <a:pt x="223" y="221"/>
                  </a:cubicBezTo>
                  <a:cubicBezTo>
                    <a:pt x="223" y="1543"/>
                    <a:pt x="223" y="1543"/>
                    <a:pt x="223" y="1543"/>
                  </a:cubicBezTo>
                  <a:cubicBezTo>
                    <a:pt x="223" y="1579"/>
                    <a:pt x="121" y="1676"/>
                    <a:pt x="87" y="1676"/>
                  </a:cubicBezTo>
                  <a:cubicBezTo>
                    <a:pt x="0" y="1676"/>
                    <a:pt x="0" y="1676"/>
                    <a:pt x="0" y="1676"/>
                  </a:cubicBezTo>
                  <a:cubicBezTo>
                    <a:pt x="0" y="1763"/>
                    <a:pt x="0" y="1763"/>
                    <a:pt x="0" y="1763"/>
                  </a:cubicBezTo>
                  <a:cubicBezTo>
                    <a:pt x="549" y="1763"/>
                    <a:pt x="549" y="1763"/>
                    <a:pt x="549" y="1763"/>
                  </a:cubicBezTo>
                  <a:cubicBezTo>
                    <a:pt x="549" y="1676"/>
                    <a:pt x="549" y="1676"/>
                    <a:pt x="549" y="1676"/>
                  </a:cubicBezTo>
                  <a:cubicBezTo>
                    <a:pt x="462" y="1676"/>
                    <a:pt x="462" y="1676"/>
                    <a:pt x="462" y="1676"/>
                  </a:cubicBezTo>
                  <a:cubicBezTo>
                    <a:pt x="428" y="1676"/>
                    <a:pt x="327" y="1579"/>
                    <a:pt x="327" y="1543"/>
                  </a:cubicBezTo>
                  <a:cubicBezTo>
                    <a:pt x="327" y="233"/>
                    <a:pt x="327" y="233"/>
                    <a:pt x="327" y="233"/>
                  </a:cubicBezTo>
                  <a:cubicBezTo>
                    <a:pt x="968" y="1794"/>
                    <a:pt x="968" y="1794"/>
                    <a:pt x="968" y="1794"/>
                  </a:cubicBezTo>
                  <a:cubicBezTo>
                    <a:pt x="1609" y="259"/>
                    <a:pt x="1609" y="259"/>
                    <a:pt x="1609" y="259"/>
                  </a:cubicBezTo>
                  <a:cubicBezTo>
                    <a:pt x="1609" y="1543"/>
                    <a:pt x="1609" y="1543"/>
                    <a:pt x="1609" y="1543"/>
                  </a:cubicBezTo>
                  <a:cubicBezTo>
                    <a:pt x="1609" y="1579"/>
                    <a:pt x="1507" y="1676"/>
                    <a:pt x="1473" y="1676"/>
                  </a:cubicBezTo>
                  <a:cubicBezTo>
                    <a:pt x="1386" y="1676"/>
                    <a:pt x="1386" y="1676"/>
                    <a:pt x="1386" y="1676"/>
                  </a:cubicBezTo>
                  <a:cubicBezTo>
                    <a:pt x="1386" y="1763"/>
                    <a:pt x="1386" y="1763"/>
                    <a:pt x="1386" y="1763"/>
                  </a:cubicBezTo>
                  <a:cubicBezTo>
                    <a:pt x="2069" y="1763"/>
                    <a:pt x="2069" y="1763"/>
                    <a:pt x="2069" y="1763"/>
                  </a:cubicBezTo>
                  <a:cubicBezTo>
                    <a:pt x="2069" y="1676"/>
                    <a:pt x="2069" y="1676"/>
                    <a:pt x="2069" y="1676"/>
                  </a:cubicBezTo>
                  <a:cubicBezTo>
                    <a:pt x="1983" y="1676"/>
                    <a:pt x="1983" y="1676"/>
                    <a:pt x="1983" y="1676"/>
                  </a:cubicBezTo>
                  <a:cubicBezTo>
                    <a:pt x="1949" y="1676"/>
                    <a:pt x="1848" y="1579"/>
                    <a:pt x="1848" y="1543"/>
                  </a:cubicBezTo>
                  <a:cubicBezTo>
                    <a:pt x="1848" y="221"/>
                    <a:pt x="1848" y="221"/>
                    <a:pt x="1848" y="221"/>
                  </a:cubicBezTo>
                  <a:cubicBezTo>
                    <a:pt x="1848" y="184"/>
                    <a:pt x="1949" y="88"/>
                    <a:pt x="1983" y="88"/>
                  </a:cubicBezTo>
                  <a:cubicBezTo>
                    <a:pt x="2070" y="88"/>
                    <a:pt x="2070" y="88"/>
                    <a:pt x="2070" y="88"/>
                  </a:cubicBezTo>
                  <a:cubicBezTo>
                    <a:pt x="2070" y="0"/>
                    <a:pt x="2070" y="0"/>
                    <a:pt x="2070" y="0"/>
                  </a:cubicBezTo>
                  <a:cubicBezTo>
                    <a:pt x="1610" y="0"/>
                    <a:pt x="1610" y="0"/>
                    <a:pt x="1610" y="0"/>
                  </a:cubicBezTo>
                  <a:lnTo>
                    <a:pt x="1053" y="1322"/>
                  </a:lnTo>
                  <a:close/>
                </a:path>
              </a:pathLst>
            </a:custGeom>
            <a:solidFill>
              <a:srgbClr val="11273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anose="020B0604020202020204" pitchFamily="34" charset="0"/>
              </a:endParaRPr>
            </a:p>
          </p:txBody>
        </p:sp>
      </p:grp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330AE89A-7771-4A6E-A02D-893DCB66C876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46647050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Title">
    <p:bg>
      <p:bgPr>
        <a:blipFill dpi="0" rotWithShape="1">
          <a:blip r:embed="rId11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7BEFF58C-83CF-420F-BF45-F188AE9E730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197372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8689" name="think-cell Slide" r:id="rId12" imgW="344" imgH="344" progId="TCLayout.ActiveDocument.1">
                  <p:embed/>
                </p:oleObj>
              </mc:Choice>
              <mc:Fallback>
                <p:oleObj name="think-cell Slide" r:id="rId12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0BEC3B16-0840-4135-8BED-D45704C35593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44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pic>
        <p:nvPicPr>
          <p:cNvPr id="11" name="Partnership">
            <a:extLst>
              <a:ext uri="{FF2B5EF4-FFF2-40B4-BE49-F238E27FC236}">
                <a16:creationId xmlns:a16="http://schemas.microsoft.com/office/drawing/2014/main" id="{93A279FD-F954-407E-8068-C22694CA7780}"/>
              </a:ext>
            </a:extLst>
          </p:cNvPr>
          <p:cNvPicPr>
            <a:picLocks noChangeAspect="1"/>
          </p:cNvPicPr>
          <p:nvPr userDrawn="1"/>
        </p:nvPicPr>
        <p:blipFill>
          <a:blip r:embed="rId14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grpSp>
        <p:nvGrpSpPr>
          <p:cNvPr id="16" name="LogoImage" hidden="1">
            <a:extLst>
              <a:ext uri="{FF2B5EF4-FFF2-40B4-BE49-F238E27FC236}">
                <a16:creationId xmlns:a16="http://schemas.microsoft.com/office/drawing/2014/main" id="{417D7FAF-35B8-4173-88FB-739B21C6DEBE}"/>
              </a:ext>
            </a:extLst>
          </p:cNvPr>
          <p:cNvGrpSpPr>
            <a:grpSpLocks noChangeAspect="1"/>
          </p:cNvGrpSpPr>
          <p:nvPr userDrawn="1">
            <p:custDataLst>
              <p:tags r:id="rId4"/>
            </p:custDataLst>
          </p:nvPr>
        </p:nvGrpSpPr>
        <p:grpSpPr bwMode="black">
          <a:xfrm>
            <a:off x="551942" y="481161"/>
            <a:ext cx="1893202" cy="585216"/>
            <a:chOff x="0" y="973"/>
            <a:chExt cx="7680" cy="2374"/>
          </a:xfrm>
        </p:grpSpPr>
        <p:sp>
          <p:nvSpPr>
            <p:cNvPr id="19" name="AutoShape 3" hidden="1">
              <a:extLst>
                <a:ext uri="{FF2B5EF4-FFF2-40B4-BE49-F238E27FC236}">
                  <a16:creationId xmlns:a16="http://schemas.microsoft.com/office/drawing/2014/main" id="{03DD3F3B-2548-4AA0-A5B1-E54401FEE8FF}"/>
                </a:ext>
              </a:extLst>
            </p:cNvPr>
            <p:cNvSpPr>
              <a:spLocks noChangeAspect="1" noChangeArrowheads="1" noTextEdit="1"/>
            </p:cNvSpPr>
            <p:nvPr userDrawn="1"/>
          </p:nvSpPr>
          <p:spPr bwMode="black">
            <a:xfrm>
              <a:off x="0" y="973"/>
              <a:ext cx="7680" cy="23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anose="020B0604020202020204" pitchFamily="34" charset="0"/>
              </a:endParaRPr>
            </a:p>
          </p:txBody>
        </p:sp>
        <p:sp>
          <p:nvSpPr>
            <p:cNvPr id="20" name="Freeform 5" hidden="1">
              <a:extLst>
                <a:ext uri="{FF2B5EF4-FFF2-40B4-BE49-F238E27FC236}">
                  <a16:creationId xmlns:a16="http://schemas.microsoft.com/office/drawing/2014/main" id="{A5CEE8F7-DC61-4907-AA21-C799D61ED268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0" y="974"/>
              <a:ext cx="7680" cy="2373"/>
            </a:xfrm>
            <a:custGeom>
              <a:avLst/>
              <a:gdLst>
                <a:gd name="T0" fmla="*/ 4209 w 15155"/>
                <a:gd name="T1" fmla="*/ 2986 h 4678"/>
                <a:gd name="T2" fmla="*/ 3707 w 15155"/>
                <a:gd name="T3" fmla="*/ 2422 h 4678"/>
                <a:gd name="T4" fmla="*/ 3712 w 15155"/>
                <a:gd name="T5" fmla="*/ 2340 h 4678"/>
                <a:gd name="T6" fmla="*/ 4724 w 15155"/>
                <a:gd name="T7" fmla="*/ 4124 h 4678"/>
                <a:gd name="T8" fmla="*/ 3330 w 15155"/>
                <a:gd name="T9" fmla="*/ 3521 h 4678"/>
                <a:gd name="T10" fmla="*/ 5673 w 15155"/>
                <a:gd name="T11" fmla="*/ 3002 h 4678"/>
                <a:gd name="T12" fmla="*/ 6627 w 15155"/>
                <a:gd name="T13" fmla="*/ 2408 h 4678"/>
                <a:gd name="T14" fmla="*/ 6279 w 15155"/>
                <a:gd name="T15" fmla="*/ 4007 h 4678"/>
                <a:gd name="T16" fmla="*/ 10270 w 15155"/>
                <a:gd name="T17" fmla="*/ 3073 h 4678"/>
                <a:gd name="T18" fmla="*/ 10801 w 15155"/>
                <a:gd name="T19" fmla="*/ 4678 h 4678"/>
                <a:gd name="T20" fmla="*/ 11466 w 15155"/>
                <a:gd name="T21" fmla="*/ 3537 h 4678"/>
                <a:gd name="T22" fmla="*/ 10602 w 15155"/>
                <a:gd name="T23" fmla="*/ 3405 h 4678"/>
                <a:gd name="T24" fmla="*/ 14762 w 15155"/>
                <a:gd name="T25" fmla="*/ 3073 h 4678"/>
                <a:gd name="T26" fmla="*/ 14505 w 15155"/>
                <a:gd name="T27" fmla="*/ 2986 h 4678"/>
                <a:gd name="T28" fmla="*/ 14145 w 15155"/>
                <a:gd name="T29" fmla="*/ 4620 h 4678"/>
                <a:gd name="T30" fmla="*/ 15155 w 15155"/>
                <a:gd name="T31" fmla="*/ 2986 h 4678"/>
                <a:gd name="T32" fmla="*/ 10231 w 15155"/>
                <a:gd name="T33" fmla="*/ 4037 h 4678"/>
                <a:gd name="T34" fmla="*/ 9005 w 15155"/>
                <a:gd name="T35" fmla="*/ 2961 h 4678"/>
                <a:gd name="T36" fmla="*/ 8378 w 15155"/>
                <a:gd name="T37" fmla="*/ 3194 h 4678"/>
                <a:gd name="T38" fmla="*/ 8775 w 15155"/>
                <a:gd name="T39" fmla="*/ 4037 h 4678"/>
                <a:gd name="T40" fmla="*/ 9107 w 15155"/>
                <a:gd name="T41" fmla="*/ 3916 h 4678"/>
                <a:gd name="T42" fmla="*/ 9439 w 15155"/>
                <a:gd name="T43" fmla="*/ 4037 h 4678"/>
                <a:gd name="T44" fmla="*/ 9712 w 15155"/>
                <a:gd name="T45" fmla="*/ 4037 h 4678"/>
                <a:gd name="T46" fmla="*/ 7962 w 15155"/>
                <a:gd name="T47" fmla="*/ 3741 h 4678"/>
                <a:gd name="T48" fmla="*/ 7962 w 15155"/>
                <a:gd name="T49" fmla="*/ 3741 h 4678"/>
                <a:gd name="T50" fmla="*/ 12654 w 15155"/>
                <a:gd name="T51" fmla="*/ 2986 h 4678"/>
                <a:gd name="T52" fmla="*/ 12586 w 15155"/>
                <a:gd name="T53" fmla="*/ 4036 h 4678"/>
                <a:gd name="T54" fmla="*/ 11780 w 15155"/>
                <a:gd name="T55" fmla="*/ 3367 h 4678"/>
                <a:gd name="T56" fmla="*/ 11871 w 15155"/>
                <a:gd name="T57" fmla="*/ 4146 h 4678"/>
                <a:gd name="T58" fmla="*/ 13060 w 15155"/>
                <a:gd name="T59" fmla="*/ 3917 h 4678"/>
                <a:gd name="T60" fmla="*/ 13423 w 15155"/>
                <a:gd name="T61" fmla="*/ 4037 h 4678"/>
                <a:gd name="T62" fmla="*/ 12250 w 15155"/>
                <a:gd name="T63" fmla="*/ 3787 h 4678"/>
                <a:gd name="T64" fmla="*/ 12250 w 15155"/>
                <a:gd name="T65" fmla="*/ 3787 h 4678"/>
                <a:gd name="T66" fmla="*/ 8758 w 15155"/>
                <a:gd name="T67" fmla="*/ 1080 h 4678"/>
                <a:gd name="T68" fmla="*/ 8559 w 15155"/>
                <a:gd name="T69" fmla="*/ 1013 h 4678"/>
                <a:gd name="T70" fmla="*/ 9105 w 15155"/>
                <a:gd name="T71" fmla="*/ 2310 h 4678"/>
                <a:gd name="T72" fmla="*/ 9553 w 15155"/>
                <a:gd name="T73" fmla="*/ 626 h 4678"/>
                <a:gd name="T74" fmla="*/ 9293 w 15155"/>
                <a:gd name="T75" fmla="*/ 713 h 4678"/>
                <a:gd name="T76" fmla="*/ 8947 w 15155"/>
                <a:gd name="T77" fmla="*/ 843 h 4678"/>
                <a:gd name="T78" fmla="*/ 5105 w 15155"/>
                <a:gd name="T79" fmla="*/ 349 h 4678"/>
                <a:gd name="T80" fmla="*/ 3793 w 15155"/>
                <a:gd name="T81" fmla="*/ 882 h 4678"/>
                <a:gd name="T82" fmla="*/ 5848 w 15155"/>
                <a:gd name="T83" fmla="*/ 981 h 4678"/>
                <a:gd name="T84" fmla="*/ 6211 w 15155"/>
                <a:gd name="T85" fmla="*/ 1763 h 4678"/>
                <a:gd name="T86" fmla="*/ 6296 w 15155"/>
                <a:gd name="T87" fmla="*/ 601 h 4678"/>
                <a:gd name="T88" fmla="*/ 5638 w 15155"/>
                <a:gd name="T89" fmla="*/ 833 h 4678"/>
                <a:gd name="T90" fmla="*/ 4836 w 15155"/>
                <a:gd name="T91" fmla="*/ 625 h 4678"/>
                <a:gd name="T92" fmla="*/ 4778 w 15155"/>
                <a:gd name="T93" fmla="*/ 1676 h 4678"/>
                <a:gd name="T94" fmla="*/ 4692 w 15155"/>
                <a:gd name="T95" fmla="*/ 0 h 4678"/>
                <a:gd name="T96" fmla="*/ 3614 w 15155"/>
                <a:gd name="T97" fmla="*/ 221 h 4678"/>
                <a:gd name="T98" fmla="*/ 3236 w 15155"/>
                <a:gd name="T99" fmla="*/ 88 h 4678"/>
                <a:gd name="T100" fmla="*/ 3836 w 15155"/>
                <a:gd name="T101" fmla="*/ 1763 h 4678"/>
                <a:gd name="T102" fmla="*/ 7219 w 15155"/>
                <a:gd name="T103" fmla="*/ 683 h 4678"/>
                <a:gd name="T104" fmla="*/ 7226 w 15155"/>
                <a:gd name="T105" fmla="*/ 598 h 4678"/>
                <a:gd name="T106" fmla="*/ 6952 w 15155"/>
                <a:gd name="T107" fmla="*/ 1361 h 4678"/>
                <a:gd name="T108" fmla="*/ 7720 w 15155"/>
                <a:gd name="T109" fmla="*/ 1446 h 4678"/>
                <a:gd name="T110" fmla="*/ 3049 w 15155"/>
                <a:gd name="T111" fmla="*/ 753 h 4678"/>
                <a:gd name="T112" fmla="*/ 2703 w 15155"/>
                <a:gd name="T113" fmla="*/ 1584 h 4678"/>
                <a:gd name="T114" fmla="*/ 87 w 15155"/>
                <a:gd name="T115" fmla="*/ 88 h 4678"/>
                <a:gd name="T116" fmla="*/ 549 w 15155"/>
                <a:gd name="T117" fmla="*/ 1763 h 4678"/>
                <a:gd name="T118" fmla="*/ 1609 w 15155"/>
                <a:gd name="T119" fmla="*/ 259 h 4678"/>
                <a:gd name="T120" fmla="*/ 2069 w 15155"/>
                <a:gd name="T121" fmla="*/ 1676 h 4678"/>
                <a:gd name="T122" fmla="*/ 2070 w 15155"/>
                <a:gd name="T123" fmla="*/ 0 h 46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5155" h="4678">
                  <a:moveTo>
                    <a:pt x="4451" y="3751"/>
                  </a:moveTo>
                  <a:cubicBezTo>
                    <a:pt x="4549" y="3607"/>
                    <a:pt x="4604" y="3438"/>
                    <a:pt x="4609" y="3264"/>
                  </a:cubicBezTo>
                  <a:cubicBezTo>
                    <a:pt x="4611" y="3211"/>
                    <a:pt x="4732" y="3072"/>
                    <a:pt x="4766" y="3072"/>
                  </a:cubicBezTo>
                  <a:cubicBezTo>
                    <a:pt x="4834" y="3072"/>
                    <a:pt x="4834" y="3072"/>
                    <a:pt x="4834" y="3072"/>
                  </a:cubicBezTo>
                  <a:cubicBezTo>
                    <a:pt x="4834" y="2986"/>
                    <a:pt x="4834" y="2986"/>
                    <a:pt x="4834" y="2986"/>
                  </a:cubicBezTo>
                  <a:cubicBezTo>
                    <a:pt x="4209" y="2986"/>
                    <a:pt x="4209" y="2986"/>
                    <a:pt x="4209" y="2986"/>
                  </a:cubicBezTo>
                  <a:cubicBezTo>
                    <a:pt x="4209" y="3073"/>
                    <a:pt x="4209" y="3073"/>
                    <a:pt x="4209" y="3073"/>
                  </a:cubicBezTo>
                  <a:cubicBezTo>
                    <a:pt x="4380" y="3078"/>
                    <a:pt x="4487" y="3175"/>
                    <a:pt x="4487" y="3337"/>
                  </a:cubicBezTo>
                  <a:cubicBezTo>
                    <a:pt x="4487" y="3482"/>
                    <a:pt x="4463" y="3591"/>
                    <a:pt x="4395" y="3702"/>
                  </a:cubicBezTo>
                  <a:cubicBezTo>
                    <a:pt x="4155" y="3489"/>
                    <a:pt x="3882" y="3230"/>
                    <a:pt x="3654" y="2986"/>
                  </a:cubicBezTo>
                  <a:cubicBezTo>
                    <a:pt x="3501" y="2928"/>
                    <a:pt x="3404" y="2814"/>
                    <a:pt x="3404" y="2673"/>
                  </a:cubicBezTo>
                  <a:cubicBezTo>
                    <a:pt x="3404" y="2514"/>
                    <a:pt x="3518" y="2422"/>
                    <a:pt x="3707" y="2422"/>
                  </a:cubicBezTo>
                  <a:cubicBezTo>
                    <a:pt x="3942" y="2422"/>
                    <a:pt x="4116" y="2659"/>
                    <a:pt x="4116" y="2777"/>
                  </a:cubicBezTo>
                  <a:cubicBezTo>
                    <a:pt x="4191" y="2777"/>
                    <a:pt x="4191" y="2777"/>
                    <a:pt x="4191" y="2777"/>
                  </a:cubicBezTo>
                  <a:cubicBezTo>
                    <a:pt x="4191" y="2362"/>
                    <a:pt x="4191" y="2362"/>
                    <a:pt x="4191" y="2362"/>
                  </a:cubicBezTo>
                  <a:cubicBezTo>
                    <a:pt x="4116" y="2362"/>
                    <a:pt x="4116" y="2362"/>
                    <a:pt x="4116" y="2362"/>
                  </a:cubicBezTo>
                  <a:cubicBezTo>
                    <a:pt x="4097" y="2391"/>
                    <a:pt x="4074" y="2393"/>
                    <a:pt x="4034" y="2393"/>
                  </a:cubicBezTo>
                  <a:cubicBezTo>
                    <a:pt x="3959" y="2393"/>
                    <a:pt x="3874" y="2340"/>
                    <a:pt x="3712" y="2340"/>
                  </a:cubicBezTo>
                  <a:cubicBezTo>
                    <a:pt x="3453" y="2340"/>
                    <a:pt x="3288" y="2480"/>
                    <a:pt x="3288" y="2732"/>
                  </a:cubicBezTo>
                  <a:cubicBezTo>
                    <a:pt x="3288" y="2887"/>
                    <a:pt x="3346" y="2991"/>
                    <a:pt x="3431" y="3100"/>
                  </a:cubicBezTo>
                  <a:cubicBezTo>
                    <a:pt x="3253" y="3219"/>
                    <a:pt x="3146" y="3420"/>
                    <a:pt x="3148" y="3634"/>
                  </a:cubicBezTo>
                  <a:cubicBezTo>
                    <a:pt x="3148" y="3944"/>
                    <a:pt x="3421" y="4155"/>
                    <a:pt x="3707" y="4155"/>
                  </a:cubicBezTo>
                  <a:cubicBezTo>
                    <a:pt x="3966" y="4155"/>
                    <a:pt x="4145" y="4080"/>
                    <a:pt x="4286" y="3944"/>
                  </a:cubicBezTo>
                  <a:cubicBezTo>
                    <a:pt x="4431" y="4078"/>
                    <a:pt x="4552" y="4124"/>
                    <a:pt x="4724" y="4124"/>
                  </a:cubicBezTo>
                  <a:cubicBezTo>
                    <a:pt x="4913" y="4124"/>
                    <a:pt x="4913" y="4124"/>
                    <a:pt x="4913" y="4124"/>
                  </a:cubicBezTo>
                  <a:cubicBezTo>
                    <a:pt x="4913" y="4036"/>
                    <a:pt x="4913" y="4036"/>
                    <a:pt x="4913" y="4036"/>
                  </a:cubicBezTo>
                  <a:cubicBezTo>
                    <a:pt x="4809" y="4036"/>
                    <a:pt x="4809" y="4036"/>
                    <a:pt x="4809" y="4036"/>
                  </a:cubicBezTo>
                  <a:cubicBezTo>
                    <a:pt x="4685" y="3947"/>
                    <a:pt x="4565" y="3852"/>
                    <a:pt x="4451" y="3751"/>
                  </a:cubicBezTo>
                  <a:close/>
                  <a:moveTo>
                    <a:pt x="3851" y="4015"/>
                  </a:moveTo>
                  <a:cubicBezTo>
                    <a:pt x="3599" y="4015"/>
                    <a:pt x="3330" y="3772"/>
                    <a:pt x="3330" y="3521"/>
                  </a:cubicBezTo>
                  <a:cubicBezTo>
                    <a:pt x="3330" y="3339"/>
                    <a:pt x="3378" y="3243"/>
                    <a:pt x="3470" y="3148"/>
                  </a:cubicBezTo>
                  <a:cubicBezTo>
                    <a:pt x="3707" y="3414"/>
                    <a:pt x="3962" y="3664"/>
                    <a:pt x="4233" y="3896"/>
                  </a:cubicBezTo>
                  <a:cubicBezTo>
                    <a:pt x="4134" y="3971"/>
                    <a:pt x="4008" y="4015"/>
                    <a:pt x="3851" y="4015"/>
                  </a:cubicBezTo>
                  <a:close/>
                  <a:moveTo>
                    <a:pt x="6279" y="4007"/>
                  </a:moveTo>
                  <a:cubicBezTo>
                    <a:pt x="5920" y="4007"/>
                    <a:pt x="5707" y="3758"/>
                    <a:pt x="5678" y="3450"/>
                  </a:cubicBezTo>
                  <a:cubicBezTo>
                    <a:pt x="5664" y="3301"/>
                    <a:pt x="5663" y="3151"/>
                    <a:pt x="5673" y="3002"/>
                  </a:cubicBezTo>
                  <a:cubicBezTo>
                    <a:pt x="5705" y="2605"/>
                    <a:pt x="5887" y="2435"/>
                    <a:pt x="6192" y="2435"/>
                  </a:cubicBezTo>
                  <a:cubicBezTo>
                    <a:pt x="6523" y="2435"/>
                    <a:pt x="6726" y="2803"/>
                    <a:pt x="6726" y="2985"/>
                  </a:cubicBezTo>
                  <a:cubicBezTo>
                    <a:pt x="6801" y="2985"/>
                    <a:pt x="6801" y="2985"/>
                    <a:pt x="6801" y="2985"/>
                  </a:cubicBezTo>
                  <a:cubicBezTo>
                    <a:pt x="6801" y="2362"/>
                    <a:pt x="6801" y="2362"/>
                    <a:pt x="6801" y="2362"/>
                  </a:cubicBezTo>
                  <a:cubicBezTo>
                    <a:pt x="6736" y="2362"/>
                    <a:pt x="6736" y="2362"/>
                    <a:pt x="6736" y="2362"/>
                  </a:cubicBezTo>
                  <a:cubicBezTo>
                    <a:pt x="6709" y="2393"/>
                    <a:pt x="6683" y="2408"/>
                    <a:pt x="6627" y="2408"/>
                  </a:cubicBezTo>
                  <a:cubicBezTo>
                    <a:pt x="6489" y="2408"/>
                    <a:pt x="6370" y="2330"/>
                    <a:pt x="6181" y="2330"/>
                  </a:cubicBezTo>
                  <a:cubicBezTo>
                    <a:pt x="5687" y="2330"/>
                    <a:pt x="5392" y="2732"/>
                    <a:pt x="5392" y="3236"/>
                  </a:cubicBezTo>
                  <a:cubicBezTo>
                    <a:pt x="5392" y="3740"/>
                    <a:pt x="5719" y="4156"/>
                    <a:pt x="6225" y="4156"/>
                  </a:cubicBezTo>
                  <a:cubicBezTo>
                    <a:pt x="6577" y="4156"/>
                    <a:pt x="6824" y="3967"/>
                    <a:pt x="6937" y="3652"/>
                  </a:cubicBezTo>
                  <a:cubicBezTo>
                    <a:pt x="6845" y="3652"/>
                    <a:pt x="6845" y="3652"/>
                    <a:pt x="6845" y="3652"/>
                  </a:cubicBezTo>
                  <a:cubicBezTo>
                    <a:pt x="6731" y="3884"/>
                    <a:pt x="6583" y="4007"/>
                    <a:pt x="6279" y="4007"/>
                  </a:cubicBezTo>
                  <a:close/>
                  <a:moveTo>
                    <a:pt x="11018" y="2957"/>
                  </a:moveTo>
                  <a:cubicBezTo>
                    <a:pt x="10830" y="2957"/>
                    <a:pt x="10704" y="3037"/>
                    <a:pt x="10605" y="3221"/>
                  </a:cubicBezTo>
                  <a:cubicBezTo>
                    <a:pt x="10566" y="2986"/>
                    <a:pt x="10566" y="2986"/>
                    <a:pt x="10566" y="2986"/>
                  </a:cubicBezTo>
                  <a:cubicBezTo>
                    <a:pt x="10195" y="2986"/>
                    <a:pt x="10195" y="2986"/>
                    <a:pt x="10195" y="2986"/>
                  </a:cubicBezTo>
                  <a:cubicBezTo>
                    <a:pt x="10195" y="3073"/>
                    <a:pt x="10195" y="3073"/>
                    <a:pt x="10195" y="3073"/>
                  </a:cubicBezTo>
                  <a:cubicBezTo>
                    <a:pt x="10270" y="3073"/>
                    <a:pt x="10270" y="3073"/>
                    <a:pt x="10270" y="3073"/>
                  </a:cubicBezTo>
                  <a:cubicBezTo>
                    <a:pt x="10304" y="3073"/>
                    <a:pt x="10391" y="3158"/>
                    <a:pt x="10391" y="3194"/>
                  </a:cubicBezTo>
                  <a:cubicBezTo>
                    <a:pt x="10391" y="4470"/>
                    <a:pt x="10391" y="4470"/>
                    <a:pt x="10391" y="4470"/>
                  </a:cubicBezTo>
                  <a:cubicBezTo>
                    <a:pt x="10391" y="4508"/>
                    <a:pt x="10304" y="4591"/>
                    <a:pt x="10270" y="4591"/>
                  </a:cubicBezTo>
                  <a:cubicBezTo>
                    <a:pt x="10195" y="4591"/>
                    <a:pt x="10195" y="4591"/>
                    <a:pt x="10195" y="4591"/>
                  </a:cubicBezTo>
                  <a:cubicBezTo>
                    <a:pt x="10195" y="4678"/>
                    <a:pt x="10195" y="4678"/>
                    <a:pt x="10195" y="4678"/>
                  </a:cubicBezTo>
                  <a:cubicBezTo>
                    <a:pt x="10801" y="4678"/>
                    <a:pt x="10801" y="4678"/>
                    <a:pt x="10801" y="4678"/>
                  </a:cubicBezTo>
                  <a:cubicBezTo>
                    <a:pt x="10801" y="4591"/>
                    <a:pt x="10801" y="4591"/>
                    <a:pt x="10801" y="4591"/>
                  </a:cubicBezTo>
                  <a:cubicBezTo>
                    <a:pt x="10726" y="4591"/>
                    <a:pt x="10726" y="4591"/>
                    <a:pt x="10726" y="4591"/>
                  </a:cubicBezTo>
                  <a:cubicBezTo>
                    <a:pt x="10694" y="4591"/>
                    <a:pt x="10605" y="4508"/>
                    <a:pt x="10605" y="4470"/>
                  </a:cubicBezTo>
                  <a:cubicBezTo>
                    <a:pt x="10605" y="3922"/>
                    <a:pt x="10605" y="3922"/>
                    <a:pt x="10605" y="3922"/>
                  </a:cubicBezTo>
                  <a:cubicBezTo>
                    <a:pt x="10687" y="4070"/>
                    <a:pt x="10793" y="4147"/>
                    <a:pt x="10994" y="4147"/>
                  </a:cubicBezTo>
                  <a:cubicBezTo>
                    <a:pt x="11272" y="4147"/>
                    <a:pt x="11466" y="3888"/>
                    <a:pt x="11466" y="3537"/>
                  </a:cubicBezTo>
                  <a:cubicBezTo>
                    <a:pt x="11466" y="3186"/>
                    <a:pt x="11297" y="2957"/>
                    <a:pt x="11018" y="2957"/>
                  </a:cubicBezTo>
                  <a:close/>
                  <a:moveTo>
                    <a:pt x="11246" y="3722"/>
                  </a:moveTo>
                  <a:cubicBezTo>
                    <a:pt x="11222" y="3903"/>
                    <a:pt x="11130" y="4027"/>
                    <a:pt x="10934" y="4027"/>
                  </a:cubicBezTo>
                  <a:cubicBezTo>
                    <a:pt x="10753" y="4029"/>
                    <a:pt x="10604" y="3884"/>
                    <a:pt x="10602" y="3703"/>
                  </a:cubicBezTo>
                  <a:cubicBezTo>
                    <a:pt x="10602" y="3701"/>
                    <a:pt x="10602" y="3698"/>
                    <a:pt x="10602" y="3695"/>
                  </a:cubicBezTo>
                  <a:cubicBezTo>
                    <a:pt x="10602" y="3405"/>
                    <a:pt x="10602" y="3405"/>
                    <a:pt x="10602" y="3405"/>
                  </a:cubicBezTo>
                  <a:cubicBezTo>
                    <a:pt x="10658" y="3225"/>
                    <a:pt x="10767" y="3092"/>
                    <a:pt x="10961" y="3092"/>
                  </a:cubicBezTo>
                  <a:cubicBezTo>
                    <a:pt x="11125" y="3092"/>
                    <a:pt x="11224" y="3208"/>
                    <a:pt x="11249" y="3390"/>
                  </a:cubicBezTo>
                  <a:cubicBezTo>
                    <a:pt x="11262" y="3500"/>
                    <a:pt x="11261" y="3612"/>
                    <a:pt x="11246" y="3722"/>
                  </a:cubicBezTo>
                  <a:close/>
                  <a:moveTo>
                    <a:pt x="14693" y="2986"/>
                  </a:moveTo>
                  <a:cubicBezTo>
                    <a:pt x="14693" y="3073"/>
                    <a:pt x="14693" y="3073"/>
                    <a:pt x="14693" y="3073"/>
                  </a:cubicBezTo>
                  <a:cubicBezTo>
                    <a:pt x="14762" y="3073"/>
                    <a:pt x="14762" y="3073"/>
                    <a:pt x="14762" y="3073"/>
                  </a:cubicBezTo>
                  <a:cubicBezTo>
                    <a:pt x="14794" y="3073"/>
                    <a:pt x="14864" y="3153"/>
                    <a:pt x="14862" y="3199"/>
                  </a:cubicBezTo>
                  <a:cubicBezTo>
                    <a:pt x="14610" y="3758"/>
                    <a:pt x="14610" y="3758"/>
                    <a:pt x="14610" y="3758"/>
                  </a:cubicBezTo>
                  <a:cubicBezTo>
                    <a:pt x="14335" y="3196"/>
                    <a:pt x="14335" y="3196"/>
                    <a:pt x="14335" y="3196"/>
                  </a:cubicBezTo>
                  <a:cubicBezTo>
                    <a:pt x="14335" y="3154"/>
                    <a:pt x="14403" y="3073"/>
                    <a:pt x="14434" y="3073"/>
                  </a:cubicBezTo>
                  <a:cubicBezTo>
                    <a:pt x="14505" y="3073"/>
                    <a:pt x="14505" y="3073"/>
                    <a:pt x="14505" y="3073"/>
                  </a:cubicBezTo>
                  <a:cubicBezTo>
                    <a:pt x="14505" y="2986"/>
                    <a:pt x="14505" y="2986"/>
                    <a:pt x="14505" y="2986"/>
                  </a:cubicBezTo>
                  <a:cubicBezTo>
                    <a:pt x="13889" y="2986"/>
                    <a:pt x="13889" y="2986"/>
                    <a:pt x="13889" y="2986"/>
                  </a:cubicBezTo>
                  <a:cubicBezTo>
                    <a:pt x="13889" y="3073"/>
                    <a:pt x="13889" y="3073"/>
                    <a:pt x="13889" y="3073"/>
                  </a:cubicBezTo>
                  <a:cubicBezTo>
                    <a:pt x="13940" y="3073"/>
                    <a:pt x="13940" y="3073"/>
                    <a:pt x="13940" y="3073"/>
                  </a:cubicBezTo>
                  <a:cubicBezTo>
                    <a:pt x="13969" y="3073"/>
                    <a:pt x="14068" y="3167"/>
                    <a:pt x="14087" y="3204"/>
                  </a:cubicBezTo>
                  <a:cubicBezTo>
                    <a:pt x="14489" y="3995"/>
                    <a:pt x="14489" y="3995"/>
                    <a:pt x="14489" y="3995"/>
                  </a:cubicBezTo>
                  <a:cubicBezTo>
                    <a:pt x="14145" y="4620"/>
                    <a:pt x="14145" y="4620"/>
                    <a:pt x="14145" y="4620"/>
                  </a:cubicBezTo>
                  <a:cubicBezTo>
                    <a:pt x="14245" y="4671"/>
                    <a:pt x="14245" y="4671"/>
                    <a:pt x="14245" y="4671"/>
                  </a:cubicBezTo>
                  <a:cubicBezTo>
                    <a:pt x="14584" y="4030"/>
                    <a:pt x="14584" y="4030"/>
                    <a:pt x="14584" y="4030"/>
                  </a:cubicBezTo>
                  <a:cubicBezTo>
                    <a:pt x="14968" y="3199"/>
                    <a:pt x="14968" y="3199"/>
                    <a:pt x="14968" y="3199"/>
                  </a:cubicBezTo>
                  <a:cubicBezTo>
                    <a:pt x="14993" y="3161"/>
                    <a:pt x="15075" y="3073"/>
                    <a:pt x="15102" y="3073"/>
                  </a:cubicBezTo>
                  <a:cubicBezTo>
                    <a:pt x="15155" y="3073"/>
                    <a:pt x="15155" y="3073"/>
                    <a:pt x="15155" y="3073"/>
                  </a:cubicBezTo>
                  <a:cubicBezTo>
                    <a:pt x="15155" y="2986"/>
                    <a:pt x="15155" y="2986"/>
                    <a:pt x="15155" y="2986"/>
                  </a:cubicBezTo>
                  <a:lnTo>
                    <a:pt x="14693" y="2986"/>
                  </a:lnTo>
                  <a:close/>
                  <a:moveTo>
                    <a:pt x="9712" y="4037"/>
                  </a:moveTo>
                  <a:cubicBezTo>
                    <a:pt x="9647" y="4037"/>
                    <a:pt x="9647" y="4037"/>
                    <a:pt x="9647" y="4037"/>
                  </a:cubicBezTo>
                  <a:cubicBezTo>
                    <a:pt x="9647" y="4124"/>
                    <a:pt x="9647" y="4124"/>
                    <a:pt x="9647" y="4124"/>
                  </a:cubicBezTo>
                  <a:cubicBezTo>
                    <a:pt x="10231" y="4124"/>
                    <a:pt x="10231" y="4124"/>
                    <a:pt x="10231" y="4124"/>
                  </a:cubicBezTo>
                  <a:cubicBezTo>
                    <a:pt x="10231" y="4037"/>
                    <a:pt x="10231" y="4037"/>
                    <a:pt x="10231" y="4037"/>
                  </a:cubicBezTo>
                  <a:cubicBezTo>
                    <a:pt x="10165" y="4037"/>
                    <a:pt x="10165" y="4037"/>
                    <a:pt x="10165" y="4037"/>
                  </a:cubicBezTo>
                  <a:cubicBezTo>
                    <a:pt x="10131" y="4037"/>
                    <a:pt x="10044" y="3954"/>
                    <a:pt x="10044" y="3916"/>
                  </a:cubicBezTo>
                  <a:cubicBezTo>
                    <a:pt x="10044" y="3288"/>
                    <a:pt x="10044" y="3288"/>
                    <a:pt x="10044" y="3288"/>
                  </a:cubicBezTo>
                  <a:cubicBezTo>
                    <a:pt x="10044" y="3080"/>
                    <a:pt x="9904" y="2964"/>
                    <a:pt x="9732" y="2964"/>
                  </a:cubicBezTo>
                  <a:cubicBezTo>
                    <a:pt x="9538" y="2964"/>
                    <a:pt x="9448" y="3066"/>
                    <a:pt x="9308" y="3204"/>
                  </a:cubicBezTo>
                  <a:cubicBezTo>
                    <a:pt x="9287" y="3044"/>
                    <a:pt x="9158" y="2961"/>
                    <a:pt x="9005" y="2961"/>
                  </a:cubicBezTo>
                  <a:cubicBezTo>
                    <a:pt x="8804" y="2961"/>
                    <a:pt x="8720" y="3068"/>
                    <a:pt x="8589" y="3206"/>
                  </a:cubicBezTo>
                  <a:cubicBezTo>
                    <a:pt x="8544" y="2986"/>
                    <a:pt x="8544" y="2986"/>
                    <a:pt x="8544" y="2986"/>
                  </a:cubicBezTo>
                  <a:cubicBezTo>
                    <a:pt x="8192" y="2986"/>
                    <a:pt x="8192" y="2986"/>
                    <a:pt x="8192" y="2986"/>
                  </a:cubicBezTo>
                  <a:cubicBezTo>
                    <a:pt x="8192" y="3073"/>
                    <a:pt x="8192" y="3073"/>
                    <a:pt x="8192" y="3073"/>
                  </a:cubicBezTo>
                  <a:cubicBezTo>
                    <a:pt x="8257" y="3073"/>
                    <a:pt x="8257" y="3073"/>
                    <a:pt x="8257" y="3073"/>
                  </a:cubicBezTo>
                  <a:cubicBezTo>
                    <a:pt x="8291" y="3073"/>
                    <a:pt x="8378" y="3158"/>
                    <a:pt x="8378" y="3194"/>
                  </a:cubicBezTo>
                  <a:cubicBezTo>
                    <a:pt x="8378" y="3916"/>
                    <a:pt x="8378" y="3916"/>
                    <a:pt x="8378" y="3916"/>
                  </a:cubicBezTo>
                  <a:cubicBezTo>
                    <a:pt x="8378" y="3954"/>
                    <a:pt x="8291" y="4037"/>
                    <a:pt x="8257" y="4037"/>
                  </a:cubicBezTo>
                  <a:cubicBezTo>
                    <a:pt x="8192" y="4037"/>
                    <a:pt x="8192" y="4037"/>
                    <a:pt x="8192" y="4037"/>
                  </a:cubicBezTo>
                  <a:cubicBezTo>
                    <a:pt x="8192" y="4124"/>
                    <a:pt x="8192" y="4124"/>
                    <a:pt x="8192" y="4124"/>
                  </a:cubicBezTo>
                  <a:cubicBezTo>
                    <a:pt x="8775" y="4124"/>
                    <a:pt x="8775" y="4124"/>
                    <a:pt x="8775" y="4124"/>
                  </a:cubicBezTo>
                  <a:cubicBezTo>
                    <a:pt x="8775" y="4037"/>
                    <a:pt x="8775" y="4037"/>
                    <a:pt x="8775" y="4037"/>
                  </a:cubicBezTo>
                  <a:cubicBezTo>
                    <a:pt x="8710" y="4037"/>
                    <a:pt x="8710" y="4037"/>
                    <a:pt x="8710" y="4037"/>
                  </a:cubicBezTo>
                  <a:cubicBezTo>
                    <a:pt x="8676" y="4037"/>
                    <a:pt x="8589" y="3954"/>
                    <a:pt x="8589" y="3916"/>
                  </a:cubicBezTo>
                  <a:cubicBezTo>
                    <a:pt x="8589" y="3330"/>
                    <a:pt x="8589" y="3330"/>
                    <a:pt x="8589" y="3330"/>
                  </a:cubicBezTo>
                  <a:cubicBezTo>
                    <a:pt x="8589" y="3252"/>
                    <a:pt x="8775" y="3099"/>
                    <a:pt x="8925" y="3099"/>
                  </a:cubicBezTo>
                  <a:cubicBezTo>
                    <a:pt x="9049" y="3099"/>
                    <a:pt x="9107" y="3177"/>
                    <a:pt x="9107" y="3288"/>
                  </a:cubicBezTo>
                  <a:cubicBezTo>
                    <a:pt x="9107" y="3916"/>
                    <a:pt x="9107" y="3916"/>
                    <a:pt x="9107" y="3916"/>
                  </a:cubicBezTo>
                  <a:cubicBezTo>
                    <a:pt x="9107" y="3954"/>
                    <a:pt x="9020" y="4037"/>
                    <a:pt x="8986" y="4037"/>
                  </a:cubicBezTo>
                  <a:cubicBezTo>
                    <a:pt x="8921" y="4037"/>
                    <a:pt x="8921" y="4037"/>
                    <a:pt x="8921" y="4037"/>
                  </a:cubicBezTo>
                  <a:cubicBezTo>
                    <a:pt x="8921" y="4124"/>
                    <a:pt x="8921" y="4124"/>
                    <a:pt x="8921" y="4124"/>
                  </a:cubicBezTo>
                  <a:cubicBezTo>
                    <a:pt x="9504" y="4124"/>
                    <a:pt x="9504" y="4124"/>
                    <a:pt x="9504" y="4124"/>
                  </a:cubicBezTo>
                  <a:cubicBezTo>
                    <a:pt x="9504" y="4037"/>
                    <a:pt x="9504" y="4037"/>
                    <a:pt x="9504" y="4037"/>
                  </a:cubicBezTo>
                  <a:cubicBezTo>
                    <a:pt x="9439" y="4037"/>
                    <a:pt x="9439" y="4037"/>
                    <a:pt x="9439" y="4037"/>
                  </a:cubicBezTo>
                  <a:cubicBezTo>
                    <a:pt x="9405" y="4037"/>
                    <a:pt x="9318" y="3954"/>
                    <a:pt x="9318" y="3916"/>
                  </a:cubicBezTo>
                  <a:cubicBezTo>
                    <a:pt x="9318" y="3323"/>
                    <a:pt x="9318" y="3323"/>
                    <a:pt x="9318" y="3323"/>
                  </a:cubicBezTo>
                  <a:cubicBezTo>
                    <a:pt x="9318" y="3246"/>
                    <a:pt x="9504" y="3101"/>
                    <a:pt x="9654" y="3101"/>
                  </a:cubicBezTo>
                  <a:cubicBezTo>
                    <a:pt x="9778" y="3101"/>
                    <a:pt x="9833" y="3178"/>
                    <a:pt x="9833" y="3289"/>
                  </a:cubicBezTo>
                  <a:cubicBezTo>
                    <a:pt x="9833" y="3917"/>
                    <a:pt x="9833" y="3917"/>
                    <a:pt x="9833" y="3917"/>
                  </a:cubicBezTo>
                  <a:cubicBezTo>
                    <a:pt x="9833" y="3954"/>
                    <a:pt x="9746" y="4037"/>
                    <a:pt x="9712" y="4037"/>
                  </a:cubicBezTo>
                  <a:close/>
                  <a:moveTo>
                    <a:pt x="7623" y="2957"/>
                  </a:moveTo>
                  <a:cubicBezTo>
                    <a:pt x="7320" y="2957"/>
                    <a:pt x="7051" y="3184"/>
                    <a:pt x="7051" y="3555"/>
                  </a:cubicBezTo>
                  <a:cubicBezTo>
                    <a:pt x="7051" y="3926"/>
                    <a:pt x="7320" y="4156"/>
                    <a:pt x="7623" y="4156"/>
                  </a:cubicBezTo>
                  <a:cubicBezTo>
                    <a:pt x="7925" y="4156"/>
                    <a:pt x="8192" y="3926"/>
                    <a:pt x="8192" y="3555"/>
                  </a:cubicBezTo>
                  <a:cubicBezTo>
                    <a:pt x="8192" y="3185"/>
                    <a:pt x="7925" y="2957"/>
                    <a:pt x="7623" y="2957"/>
                  </a:cubicBezTo>
                  <a:close/>
                  <a:moveTo>
                    <a:pt x="7962" y="3741"/>
                  </a:moveTo>
                  <a:cubicBezTo>
                    <a:pt x="7940" y="3920"/>
                    <a:pt x="7841" y="4044"/>
                    <a:pt x="7625" y="4044"/>
                  </a:cubicBezTo>
                  <a:cubicBezTo>
                    <a:pt x="7415" y="4044"/>
                    <a:pt x="7315" y="3916"/>
                    <a:pt x="7289" y="3739"/>
                  </a:cubicBezTo>
                  <a:cubicBezTo>
                    <a:pt x="7272" y="3613"/>
                    <a:pt x="7272" y="3485"/>
                    <a:pt x="7289" y="3359"/>
                  </a:cubicBezTo>
                  <a:cubicBezTo>
                    <a:pt x="7315" y="3177"/>
                    <a:pt x="7420" y="3056"/>
                    <a:pt x="7625" y="3056"/>
                  </a:cubicBezTo>
                  <a:cubicBezTo>
                    <a:pt x="7839" y="3056"/>
                    <a:pt x="7940" y="3177"/>
                    <a:pt x="7962" y="3361"/>
                  </a:cubicBezTo>
                  <a:cubicBezTo>
                    <a:pt x="7976" y="3487"/>
                    <a:pt x="7976" y="3615"/>
                    <a:pt x="7962" y="3741"/>
                  </a:cubicBezTo>
                  <a:close/>
                  <a:moveTo>
                    <a:pt x="13826" y="3916"/>
                  </a:moveTo>
                  <a:cubicBezTo>
                    <a:pt x="13826" y="3288"/>
                    <a:pt x="13826" y="3288"/>
                    <a:pt x="13826" y="3288"/>
                  </a:cubicBezTo>
                  <a:cubicBezTo>
                    <a:pt x="13826" y="3092"/>
                    <a:pt x="13685" y="2961"/>
                    <a:pt x="13509" y="2961"/>
                  </a:cubicBezTo>
                  <a:cubicBezTo>
                    <a:pt x="13303" y="2961"/>
                    <a:pt x="13196" y="3080"/>
                    <a:pt x="13058" y="3221"/>
                  </a:cubicBezTo>
                  <a:cubicBezTo>
                    <a:pt x="13016" y="2986"/>
                    <a:pt x="13016" y="2986"/>
                    <a:pt x="13016" y="2986"/>
                  </a:cubicBezTo>
                  <a:cubicBezTo>
                    <a:pt x="12654" y="2986"/>
                    <a:pt x="12654" y="2986"/>
                    <a:pt x="12654" y="2986"/>
                  </a:cubicBezTo>
                  <a:cubicBezTo>
                    <a:pt x="12654" y="3073"/>
                    <a:pt x="12654" y="3073"/>
                    <a:pt x="12654" y="3073"/>
                  </a:cubicBezTo>
                  <a:cubicBezTo>
                    <a:pt x="12724" y="3073"/>
                    <a:pt x="12724" y="3073"/>
                    <a:pt x="12724" y="3073"/>
                  </a:cubicBezTo>
                  <a:cubicBezTo>
                    <a:pt x="12758" y="3073"/>
                    <a:pt x="12850" y="3158"/>
                    <a:pt x="12850" y="3194"/>
                  </a:cubicBezTo>
                  <a:cubicBezTo>
                    <a:pt x="12850" y="3915"/>
                    <a:pt x="12850" y="3915"/>
                    <a:pt x="12850" y="3915"/>
                  </a:cubicBezTo>
                  <a:cubicBezTo>
                    <a:pt x="12850" y="3954"/>
                    <a:pt x="12758" y="4036"/>
                    <a:pt x="12724" y="4036"/>
                  </a:cubicBezTo>
                  <a:cubicBezTo>
                    <a:pt x="12586" y="4036"/>
                    <a:pt x="12586" y="4036"/>
                    <a:pt x="12586" y="4036"/>
                  </a:cubicBezTo>
                  <a:cubicBezTo>
                    <a:pt x="12555" y="4036"/>
                    <a:pt x="12460" y="3954"/>
                    <a:pt x="12460" y="3915"/>
                  </a:cubicBezTo>
                  <a:cubicBezTo>
                    <a:pt x="12460" y="3302"/>
                    <a:pt x="12460" y="3302"/>
                    <a:pt x="12460" y="3302"/>
                  </a:cubicBezTo>
                  <a:cubicBezTo>
                    <a:pt x="12460" y="3077"/>
                    <a:pt x="12267" y="2956"/>
                    <a:pt x="12020" y="2956"/>
                  </a:cubicBezTo>
                  <a:cubicBezTo>
                    <a:pt x="11787" y="2956"/>
                    <a:pt x="11639" y="3041"/>
                    <a:pt x="11545" y="3138"/>
                  </a:cubicBezTo>
                  <a:cubicBezTo>
                    <a:pt x="11698" y="3367"/>
                    <a:pt x="11698" y="3367"/>
                    <a:pt x="11698" y="3367"/>
                  </a:cubicBezTo>
                  <a:cubicBezTo>
                    <a:pt x="11780" y="3367"/>
                    <a:pt x="11780" y="3367"/>
                    <a:pt x="11780" y="3367"/>
                  </a:cubicBezTo>
                  <a:cubicBezTo>
                    <a:pt x="11695" y="3171"/>
                    <a:pt x="11773" y="3041"/>
                    <a:pt x="11969" y="3041"/>
                  </a:cubicBezTo>
                  <a:cubicBezTo>
                    <a:pt x="12175" y="3041"/>
                    <a:pt x="12252" y="3138"/>
                    <a:pt x="12250" y="3300"/>
                  </a:cubicBezTo>
                  <a:cubicBezTo>
                    <a:pt x="12247" y="3435"/>
                    <a:pt x="12247" y="3435"/>
                    <a:pt x="12247" y="3435"/>
                  </a:cubicBezTo>
                  <a:cubicBezTo>
                    <a:pt x="11952" y="3496"/>
                    <a:pt x="11952" y="3496"/>
                    <a:pt x="11952" y="3496"/>
                  </a:cubicBezTo>
                  <a:cubicBezTo>
                    <a:pt x="11790" y="3531"/>
                    <a:pt x="11578" y="3608"/>
                    <a:pt x="11578" y="3836"/>
                  </a:cubicBezTo>
                  <a:cubicBezTo>
                    <a:pt x="11578" y="4023"/>
                    <a:pt x="11714" y="4146"/>
                    <a:pt x="11871" y="4146"/>
                  </a:cubicBezTo>
                  <a:cubicBezTo>
                    <a:pt x="12041" y="4146"/>
                    <a:pt x="12162" y="4008"/>
                    <a:pt x="12254" y="3890"/>
                  </a:cubicBezTo>
                  <a:cubicBezTo>
                    <a:pt x="12283" y="4125"/>
                    <a:pt x="12283" y="4125"/>
                    <a:pt x="12283" y="4125"/>
                  </a:cubicBezTo>
                  <a:cubicBezTo>
                    <a:pt x="13251" y="4125"/>
                    <a:pt x="13251" y="4125"/>
                    <a:pt x="13251" y="4125"/>
                  </a:cubicBezTo>
                  <a:cubicBezTo>
                    <a:pt x="13251" y="4038"/>
                    <a:pt x="13251" y="4038"/>
                    <a:pt x="13251" y="4038"/>
                  </a:cubicBezTo>
                  <a:cubicBezTo>
                    <a:pt x="13186" y="4038"/>
                    <a:pt x="13186" y="4038"/>
                    <a:pt x="13186" y="4038"/>
                  </a:cubicBezTo>
                  <a:cubicBezTo>
                    <a:pt x="13152" y="4038"/>
                    <a:pt x="13060" y="3955"/>
                    <a:pt x="13060" y="3917"/>
                  </a:cubicBezTo>
                  <a:cubicBezTo>
                    <a:pt x="13060" y="3342"/>
                    <a:pt x="13060" y="3342"/>
                    <a:pt x="13060" y="3342"/>
                  </a:cubicBezTo>
                  <a:cubicBezTo>
                    <a:pt x="13060" y="3264"/>
                    <a:pt x="13271" y="3104"/>
                    <a:pt x="13433" y="3104"/>
                  </a:cubicBezTo>
                  <a:cubicBezTo>
                    <a:pt x="13557" y="3104"/>
                    <a:pt x="13615" y="3190"/>
                    <a:pt x="13615" y="3301"/>
                  </a:cubicBezTo>
                  <a:cubicBezTo>
                    <a:pt x="13615" y="3916"/>
                    <a:pt x="13615" y="3916"/>
                    <a:pt x="13615" y="3916"/>
                  </a:cubicBezTo>
                  <a:cubicBezTo>
                    <a:pt x="13615" y="3954"/>
                    <a:pt x="13523" y="4037"/>
                    <a:pt x="13489" y="4037"/>
                  </a:cubicBezTo>
                  <a:cubicBezTo>
                    <a:pt x="13423" y="4037"/>
                    <a:pt x="13423" y="4037"/>
                    <a:pt x="13423" y="4037"/>
                  </a:cubicBezTo>
                  <a:cubicBezTo>
                    <a:pt x="13423" y="4124"/>
                    <a:pt x="13423" y="4124"/>
                    <a:pt x="13423" y="4124"/>
                  </a:cubicBezTo>
                  <a:cubicBezTo>
                    <a:pt x="14022" y="4124"/>
                    <a:pt x="14022" y="4124"/>
                    <a:pt x="14022" y="4124"/>
                  </a:cubicBezTo>
                  <a:cubicBezTo>
                    <a:pt x="14022" y="4037"/>
                    <a:pt x="14022" y="4037"/>
                    <a:pt x="14022" y="4037"/>
                  </a:cubicBezTo>
                  <a:cubicBezTo>
                    <a:pt x="13952" y="4037"/>
                    <a:pt x="13952" y="4037"/>
                    <a:pt x="13952" y="4037"/>
                  </a:cubicBezTo>
                  <a:cubicBezTo>
                    <a:pt x="13918" y="4037"/>
                    <a:pt x="13826" y="3954"/>
                    <a:pt x="13826" y="3916"/>
                  </a:cubicBezTo>
                  <a:close/>
                  <a:moveTo>
                    <a:pt x="12250" y="3787"/>
                  </a:moveTo>
                  <a:cubicBezTo>
                    <a:pt x="12201" y="3873"/>
                    <a:pt x="12080" y="3988"/>
                    <a:pt x="11969" y="3988"/>
                  </a:cubicBezTo>
                  <a:cubicBezTo>
                    <a:pt x="11872" y="3993"/>
                    <a:pt x="11789" y="3918"/>
                    <a:pt x="11785" y="3820"/>
                  </a:cubicBezTo>
                  <a:cubicBezTo>
                    <a:pt x="11785" y="3816"/>
                    <a:pt x="11785" y="3811"/>
                    <a:pt x="11785" y="3807"/>
                  </a:cubicBezTo>
                  <a:cubicBezTo>
                    <a:pt x="11785" y="3693"/>
                    <a:pt x="11833" y="3618"/>
                    <a:pt x="11977" y="3582"/>
                  </a:cubicBezTo>
                  <a:cubicBezTo>
                    <a:pt x="12251" y="3511"/>
                    <a:pt x="12251" y="3511"/>
                    <a:pt x="12251" y="3511"/>
                  </a:cubicBezTo>
                  <a:lnTo>
                    <a:pt x="12250" y="3787"/>
                  </a:lnTo>
                  <a:close/>
                  <a:moveTo>
                    <a:pt x="8336" y="1790"/>
                  </a:moveTo>
                  <a:cubicBezTo>
                    <a:pt x="8617" y="1790"/>
                    <a:pt x="8765" y="1637"/>
                    <a:pt x="8840" y="1388"/>
                  </a:cubicBezTo>
                  <a:cubicBezTo>
                    <a:pt x="8769" y="1388"/>
                    <a:pt x="8769" y="1388"/>
                    <a:pt x="8769" y="1388"/>
                  </a:cubicBezTo>
                  <a:cubicBezTo>
                    <a:pt x="8697" y="1519"/>
                    <a:pt x="8605" y="1584"/>
                    <a:pt x="8411" y="1584"/>
                  </a:cubicBezTo>
                  <a:cubicBezTo>
                    <a:pt x="8152" y="1584"/>
                    <a:pt x="8002" y="1349"/>
                    <a:pt x="7997" y="1141"/>
                  </a:cubicBezTo>
                  <a:cubicBezTo>
                    <a:pt x="8758" y="1080"/>
                    <a:pt x="8758" y="1080"/>
                    <a:pt x="8758" y="1080"/>
                  </a:cubicBezTo>
                  <a:cubicBezTo>
                    <a:pt x="8753" y="997"/>
                    <a:pt x="8753" y="997"/>
                    <a:pt x="8753" y="997"/>
                  </a:cubicBezTo>
                  <a:cubicBezTo>
                    <a:pt x="8740" y="774"/>
                    <a:pt x="8595" y="600"/>
                    <a:pt x="8336" y="598"/>
                  </a:cubicBezTo>
                  <a:cubicBezTo>
                    <a:pt x="8041" y="595"/>
                    <a:pt x="7811" y="857"/>
                    <a:pt x="7811" y="1196"/>
                  </a:cubicBezTo>
                  <a:cubicBezTo>
                    <a:pt x="7811" y="1519"/>
                    <a:pt x="8033" y="1790"/>
                    <a:pt x="8336" y="1790"/>
                  </a:cubicBezTo>
                  <a:close/>
                  <a:moveTo>
                    <a:pt x="8331" y="686"/>
                  </a:moveTo>
                  <a:cubicBezTo>
                    <a:pt x="8554" y="686"/>
                    <a:pt x="8578" y="850"/>
                    <a:pt x="8559" y="1013"/>
                  </a:cubicBezTo>
                  <a:cubicBezTo>
                    <a:pt x="7990" y="1061"/>
                    <a:pt x="7990" y="1061"/>
                    <a:pt x="7990" y="1061"/>
                  </a:cubicBezTo>
                  <a:cubicBezTo>
                    <a:pt x="7997" y="882"/>
                    <a:pt x="8094" y="686"/>
                    <a:pt x="8331" y="686"/>
                  </a:cubicBezTo>
                  <a:close/>
                  <a:moveTo>
                    <a:pt x="8947" y="843"/>
                  </a:moveTo>
                  <a:cubicBezTo>
                    <a:pt x="9349" y="1635"/>
                    <a:pt x="9349" y="1635"/>
                    <a:pt x="9349" y="1635"/>
                  </a:cubicBezTo>
                  <a:cubicBezTo>
                    <a:pt x="9005" y="2259"/>
                    <a:pt x="9005" y="2259"/>
                    <a:pt x="9005" y="2259"/>
                  </a:cubicBezTo>
                  <a:cubicBezTo>
                    <a:pt x="9105" y="2310"/>
                    <a:pt x="9105" y="2310"/>
                    <a:pt x="9105" y="2310"/>
                  </a:cubicBezTo>
                  <a:cubicBezTo>
                    <a:pt x="9444" y="1669"/>
                    <a:pt x="9444" y="1669"/>
                    <a:pt x="9444" y="1669"/>
                  </a:cubicBezTo>
                  <a:cubicBezTo>
                    <a:pt x="9828" y="839"/>
                    <a:pt x="9828" y="839"/>
                    <a:pt x="9828" y="839"/>
                  </a:cubicBezTo>
                  <a:cubicBezTo>
                    <a:pt x="9853" y="800"/>
                    <a:pt x="9935" y="713"/>
                    <a:pt x="9962" y="713"/>
                  </a:cubicBezTo>
                  <a:cubicBezTo>
                    <a:pt x="10015" y="713"/>
                    <a:pt x="10015" y="713"/>
                    <a:pt x="10015" y="713"/>
                  </a:cubicBezTo>
                  <a:cubicBezTo>
                    <a:pt x="10015" y="626"/>
                    <a:pt x="10015" y="626"/>
                    <a:pt x="10015" y="626"/>
                  </a:cubicBezTo>
                  <a:cubicBezTo>
                    <a:pt x="9553" y="626"/>
                    <a:pt x="9553" y="626"/>
                    <a:pt x="9553" y="626"/>
                  </a:cubicBezTo>
                  <a:cubicBezTo>
                    <a:pt x="9553" y="713"/>
                    <a:pt x="9553" y="713"/>
                    <a:pt x="9553" y="713"/>
                  </a:cubicBezTo>
                  <a:cubicBezTo>
                    <a:pt x="9623" y="713"/>
                    <a:pt x="9623" y="713"/>
                    <a:pt x="9623" y="713"/>
                  </a:cubicBezTo>
                  <a:cubicBezTo>
                    <a:pt x="9654" y="713"/>
                    <a:pt x="9725" y="793"/>
                    <a:pt x="9722" y="839"/>
                  </a:cubicBezTo>
                  <a:cubicBezTo>
                    <a:pt x="9470" y="1398"/>
                    <a:pt x="9470" y="1398"/>
                    <a:pt x="9470" y="1398"/>
                  </a:cubicBezTo>
                  <a:cubicBezTo>
                    <a:pt x="9194" y="836"/>
                    <a:pt x="9194" y="836"/>
                    <a:pt x="9194" y="836"/>
                  </a:cubicBezTo>
                  <a:cubicBezTo>
                    <a:pt x="9194" y="794"/>
                    <a:pt x="9262" y="713"/>
                    <a:pt x="9293" y="713"/>
                  </a:cubicBezTo>
                  <a:cubicBezTo>
                    <a:pt x="9364" y="713"/>
                    <a:pt x="9364" y="713"/>
                    <a:pt x="9364" y="713"/>
                  </a:cubicBezTo>
                  <a:cubicBezTo>
                    <a:pt x="9364" y="626"/>
                    <a:pt x="9364" y="626"/>
                    <a:pt x="9364" y="626"/>
                  </a:cubicBezTo>
                  <a:cubicBezTo>
                    <a:pt x="8749" y="626"/>
                    <a:pt x="8749" y="626"/>
                    <a:pt x="8749" y="626"/>
                  </a:cubicBezTo>
                  <a:cubicBezTo>
                    <a:pt x="8749" y="713"/>
                    <a:pt x="8749" y="713"/>
                    <a:pt x="8749" y="713"/>
                  </a:cubicBezTo>
                  <a:cubicBezTo>
                    <a:pt x="8800" y="713"/>
                    <a:pt x="8800" y="713"/>
                    <a:pt x="8800" y="713"/>
                  </a:cubicBezTo>
                  <a:cubicBezTo>
                    <a:pt x="8829" y="712"/>
                    <a:pt x="8928" y="807"/>
                    <a:pt x="8947" y="843"/>
                  </a:cubicBezTo>
                  <a:close/>
                  <a:moveTo>
                    <a:pt x="5117" y="349"/>
                  </a:moveTo>
                  <a:cubicBezTo>
                    <a:pt x="5195" y="353"/>
                    <a:pt x="5261" y="293"/>
                    <a:pt x="5265" y="215"/>
                  </a:cubicBezTo>
                  <a:cubicBezTo>
                    <a:pt x="5265" y="210"/>
                    <a:pt x="5265" y="206"/>
                    <a:pt x="5265" y="201"/>
                  </a:cubicBezTo>
                  <a:cubicBezTo>
                    <a:pt x="5265" y="112"/>
                    <a:pt x="5202" y="56"/>
                    <a:pt x="5117" y="56"/>
                  </a:cubicBezTo>
                  <a:cubicBezTo>
                    <a:pt x="5032" y="56"/>
                    <a:pt x="4967" y="112"/>
                    <a:pt x="4967" y="201"/>
                  </a:cubicBezTo>
                  <a:cubicBezTo>
                    <a:pt x="4965" y="280"/>
                    <a:pt x="5026" y="346"/>
                    <a:pt x="5105" y="349"/>
                  </a:cubicBezTo>
                  <a:cubicBezTo>
                    <a:pt x="5109" y="349"/>
                    <a:pt x="5113" y="349"/>
                    <a:pt x="5117" y="349"/>
                  </a:cubicBezTo>
                  <a:close/>
                  <a:moveTo>
                    <a:pt x="3836" y="1676"/>
                  </a:moveTo>
                  <a:cubicBezTo>
                    <a:pt x="3749" y="1676"/>
                    <a:pt x="3749" y="1676"/>
                    <a:pt x="3749" y="1676"/>
                  </a:cubicBezTo>
                  <a:cubicBezTo>
                    <a:pt x="3715" y="1676"/>
                    <a:pt x="3613" y="1579"/>
                    <a:pt x="3613" y="1543"/>
                  </a:cubicBezTo>
                  <a:cubicBezTo>
                    <a:pt x="3613" y="1075"/>
                    <a:pt x="3613" y="1075"/>
                    <a:pt x="3613" y="1075"/>
                  </a:cubicBezTo>
                  <a:cubicBezTo>
                    <a:pt x="3793" y="882"/>
                    <a:pt x="3793" y="882"/>
                    <a:pt x="3793" y="882"/>
                  </a:cubicBezTo>
                  <a:cubicBezTo>
                    <a:pt x="4403" y="1763"/>
                    <a:pt x="4403" y="1763"/>
                    <a:pt x="4403" y="1763"/>
                  </a:cubicBezTo>
                  <a:cubicBezTo>
                    <a:pt x="6040" y="1763"/>
                    <a:pt x="6040" y="1763"/>
                    <a:pt x="6040" y="1763"/>
                  </a:cubicBezTo>
                  <a:cubicBezTo>
                    <a:pt x="6040" y="1676"/>
                    <a:pt x="6040" y="1676"/>
                    <a:pt x="6040" y="1676"/>
                  </a:cubicBezTo>
                  <a:cubicBezTo>
                    <a:pt x="5974" y="1676"/>
                    <a:pt x="5974" y="1676"/>
                    <a:pt x="5974" y="1676"/>
                  </a:cubicBezTo>
                  <a:cubicBezTo>
                    <a:pt x="5940" y="1676"/>
                    <a:pt x="5848" y="1594"/>
                    <a:pt x="5848" y="1555"/>
                  </a:cubicBezTo>
                  <a:cubicBezTo>
                    <a:pt x="5848" y="981"/>
                    <a:pt x="5848" y="981"/>
                    <a:pt x="5848" y="981"/>
                  </a:cubicBezTo>
                  <a:cubicBezTo>
                    <a:pt x="5848" y="904"/>
                    <a:pt x="6059" y="744"/>
                    <a:pt x="6221" y="744"/>
                  </a:cubicBezTo>
                  <a:cubicBezTo>
                    <a:pt x="6345" y="744"/>
                    <a:pt x="6403" y="829"/>
                    <a:pt x="6403" y="940"/>
                  </a:cubicBezTo>
                  <a:cubicBezTo>
                    <a:pt x="6403" y="1555"/>
                    <a:pt x="6403" y="1555"/>
                    <a:pt x="6403" y="1555"/>
                  </a:cubicBezTo>
                  <a:cubicBezTo>
                    <a:pt x="6403" y="1594"/>
                    <a:pt x="6311" y="1676"/>
                    <a:pt x="6277" y="1676"/>
                  </a:cubicBezTo>
                  <a:cubicBezTo>
                    <a:pt x="6211" y="1676"/>
                    <a:pt x="6211" y="1676"/>
                    <a:pt x="6211" y="1676"/>
                  </a:cubicBezTo>
                  <a:cubicBezTo>
                    <a:pt x="6211" y="1763"/>
                    <a:pt x="6211" y="1763"/>
                    <a:pt x="6211" y="1763"/>
                  </a:cubicBezTo>
                  <a:cubicBezTo>
                    <a:pt x="6810" y="1763"/>
                    <a:pt x="6810" y="1763"/>
                    <a:pt x="6810" y="1763"/>
                  </a:cubicBezTo>
                  <a:cubicBezTo>
                    <a:pt x="6810" y="1676"/>
                    <a:pt x="6810" y="1676"/>
                    <a:pt x="6810" y="1676"/>
                  </a:cubicBezTo>
                  <a:cubicBezTo>
                    <a:pt x="6739" y="1676"/>
                    <a:pt x="6739" y="1676"/>
                    <a:pt x="6739" y="1676"/>
                  </a:cubicBezTo>
                  <a:cubicBezTo>
                    <a:pt x="6706" y="1676"/>
                    <a:pt x="6613" y="1594"/>
                    <a:pt x="6613" y="1555"/>
                  </a:cubicBezTo>
                  <a:cubicBezTo>
                    <a:pt x="6613" y="928"/>
                    <a:pt x="6613" y="928"/>
                    <a:pt x="6613" y="928"/>
                  </a:cubicBezTo>
                  <a:cubicBezTo>
                    <a:pt x="6613" y="732"/>
                    <a:pt x="6473" y="601"/>
                    <a:pt x="6296" y="601"/>
                  </a:cubicBezTo>
                  <a:cubicBezTo>
                    <a:pt x="6091" y="601"/>
                    <a:pt x="5984" y="720"/>
                    <a:pt x="5846" y="860"/>
                  </a:cubicBezTo>
                  <a:cubicBezTo>
                    <a:pt x="5803" y="625"/>
                    <a:pt x="5803" y="625"/>
                    <a:pt x="5803" y="625"/>
                  </a:cubicBezTo>
                  <a:cubicBezTo>
                    <a:pt x="5441" y="625"/>
                    <a:pt x="5441" y="625"/>
                    <a:pt x="5441" y="625"/>
                  </a:cubicBezTo>
                  <a:cubicBezTo>
                    <a:pt x="5441" y="712"/>
                    <a:pt x="5441" y="712"/>
                    <a:pt x="5441" y="712"/>
                  </a:cubicBezTo>
                  <a:cubicBezTo>
                    <a:pt x="5512" y="712"/>
                    <a:pt x="5512" y="712"/>
                    <a:pt x="5512" y="712"/>
                  </a:cubicBezTo>
                  <a:cubicBezTo>
                    <a:pt x="5546" y="712"/>
                    <a:pt x="5638" y="798"/>
                    <a:pt x="5638" y="833"/>
                  </a:cubicBezTo>
                  <a:cubicBezTo>
                    <a:pt x="5638" y="1555"/>
                    <a:pt x="5638" y="1555"/>
                    <a:pt x="5638" y="1555"/>
                  </a:cubicBezTo>
                  <a:cubicBezTo>
                    <a:pt x="5638" y="1593"/>
                    <a:pt x="5546" y="1676"/>
                    <a:pt x="5512" y="1676"/>
                  </a:cubicBezTo>
                  <a:cubicBezTo>
                    <a:pt x="5371" y="1676"/>
                    <a:pt x="5371" y="1676"/>
                    <a:pt x="5371" y="1676"/>
                  </a:cubicBezTo>
                  <a:cubicBezTo>
                    <a:pt x="5340" y="1676"/>
                    <a:pt x="5245" y="1593"/>
                    <a:pt x="5245" y="1555"/>
                  </a:cubicBezTo>
                  <a:cubicBezTo>
                    <a:pt x="5245" y="625"/>
                    <a:pt x="5245" y="625"/>
                    <a:pt x="5245" y="625"/>
                  </a:cubicBezTo>
                  <a:cubicBezTo>
                    <a:pt x="4836" y="625"/>
                    <a:pt x="4836" y="625"/>
                    <a:pt x="4836" y="625"/>
                  </a:cubicBezTo>
                  <a:cubicBezTo>
                    <a:pt x="4836" y="712"/>
                    <a:pt x="4836" y="712"/>
                    <a:pt x="4836" y="712"/>
                  </a:cubicBezTo>
                  <a:cubicBezTo>
                    <a:pt x="4906" y="712"/>
                    <a:pt x="4906" y="712"/>
                    <a:pt x="4906" y="712"/>
                  </a:cubicBezTo>
                  <a:cubicBezTo>
                    <a:pt x="4940" y="712"/>
                    <a:pt x="5032" y="798"/>
                    <a:pt x="5032" y="833"/>
                  </a:cubicBezTo>
                  <a:cubicBezTo>
                    <a:pt x="5032" y="1555"/>
                    <a:pt x="5032" y="1555"/>
                    <a:pt x="5032" y="1555"/>
                  </a:cubicBezTo>
                  <a:cubicBezTo>
                    <a:pt x="5032" y="1594"/>
                    <a:pt x="4940" y="1676"/>
                    <a:pt x="4906" y="1676"/>
                  </a:cubicBezTo>
                  <a:cubicBezTo>
                    <a:pt x="4778" y="1676"/>
                    <a:pt x="4778" y="1676"/>
                    <a:pt x="4778" y="1676"/>
                  </a:cubicBezTo>
                  <a:cubicBezTo>
                    <a:pt x="4742" y="1676"/>
                    <a:pt x="4599" y="1567"/>
                    <a:pt x="4570" y="1528"/>
                  </a:cubicBezTo>
                  <a:cubicBezTo>
                    <a:pt x="3953" y="707"/>
                    <a:pt x="3953" y="707"/>
                    <a:pt x="3953" y="707"/>
                  </a:cubicBezTo>
                  <a:cubicBezTo>
                    <a:pt x="4381" y="247"/>
                    <a:pt x="4381" y="247"/>
                    <a:pt x="4381" y="247"/>
                  </a:cubicBezTo>
                  <a:cubicBezTo>
                    <a:pt x="4405" y="221"/>
                    <a:pt x="4572" y="88"/>
                    <a:pt x="4606" y="88"/>
                  </a:cubicBezTo>
                  <a:cubicBezTo>
                    <a:pt x="4692" y="88"/>
                    <a:pt x="4692" y="88"/>
                    <a:pt x="4692" y="88"/>
                  </a:cubicBezTo>
                  <a:cubicBezTo>
                    <a:pt x="4692" y="0"/>
                    <a:pt x="4692" y="0"/>
                    <a:pt x="4692" y="0"/>
                  </a:cubicBezTo>
                  <a:cubicBezTo>
                    <a:pt x="4052" y="0"/>
                    <a:pt x="4052" y="0"/>
                    <a:pt x="4052" y="0"/>
                  </a:cubicBezTo>
                  <a:cubicBezTo>
                    <a:pt x="4052" y="88"/>
                    <a:pt x="4052" y="88"/>
                    <a:pt x="4052" y="88"/>
                  </a:cubicBezTo>
                  <a:cubicBezTo>
                    <a:pt x="4137" y="88"/>
                    <a:pt x="4137" y="88"/>
                    <a:pt x="4137" y="88"/>
                  </a:cubicBezTo>
                  <a:cubicBezTo>
                    <a:pt x="4171" y="88"/>
                    <a:pt x="4270" y="209"/>
                    <a:pt x="4244" y="240"/>
                  </a:cubicBezTo>
                  <a:cubicBezTo>
                    <a:pt x="3614" y="942"/>
                    <a:pt x="3614" y="942"/>
                    <a:pt x="3614" y="942"/>
                  </a:cubicBezTo>
                  <a:cubicBezTo>
                    <a:pt x="3614" y="221"/>
                    <a:pt x="3614" y="221"/>
                    <a:pt x="3614" y="221"/>
                  </a:cubicBezTo>
                  <a:cubicBezTo>
                    <a:pt x="3614" y="184"/>
                    <a:pt x="3716" y="88"/>
                    <a:pt x="3750" y="88"/>
                  </a:cubicBezTo>
                  <a:cubicBezTo>
                    <a:pt x="3837" y="88"/>
                    <a:pt x="3837" y="88"/>
                    <a:pt x="3837" y="88"/>
                  </a:cubicBezTo>
                  <a:cubicBezTo>
                    <a:pt x="3837" y="0"/>
                    <a:pt x="3837" y="0"/>
                    <a:pt x="3837" y="0"/>
                  </a:cubicBezTo>
                  <a:cubicBezTo>
                    <a:pt x="3149" y="0"/>
                    <a:pt x="3149" y="0"/>
                    <a:pt x="3149" y="0"/>
                  </a:cubicBezTo>
                  <a:cubicBezTo>
                    <a:pt x="3149" y="88"/>
                    <a:pt x="3149" y="88"/>
                    <a:pt x="3149" y="88"/>
                  </a:cubicBezTo>
                  <a:cubicBezTo>
                    <a:pt x="3236" y="88"/>
                    <a:pt x="3236" y="88"/>
                    <a:pt x="3236" y="88"/>
                  </a:cubicBezTo>
                  <a:cubicBezTo>
                    <a:pt x="3270" y="88"/>
                    <a:pt x="3371" y="184"/>
                    <a:pt x="3371" y="221"/>
                  </a:cubicBezTo>
                  <a:cubicBezTo>
                    <a:pt x="3371" y="1543"/>
                    <a:pt x="3371" y="1543"/>
                    <a:pt x="3371" y="1543"/>
                  </a:cubicBezTo>
                  <a:cubicBezTo>
                    <a:pt x="3371" y="1579"/>
                    <a:pt x="3270" y="1676"/>
                    <a:pt x="3236" y="1676"/>
                  </a:cubicBezTo>
                  <a:cubicBezTo>
                    <a:pt x="3149" y="1676"/>
                    <a:pt x="3149" y="1676"/>
                    <a:pt x="3149" y="1676"/>
                  </a:cubicBezTo>
                  <a:cubicBezTo>
                    <a:pt x="3149" y="1763"/>
                    <a:pt x="3149" y="1763"/>
                    <a:pt x="3149" y="1763"/>
                  </a:cubicBezTo>
                  <a:cubicBezTo>
                    <a:pt x="3836" y="1763"/>
                    <a:pt x="3836" y="1763"/>
                    <a:pt x="3836" y="1763"/>
                  </a:cubicBezTo>
                  <a:lnTo>
                    <a:pt x="3836" y="1676"/>
                  </a:lnTo>
                  <a:close/>
                  <a:moveTo>
                    <a:pt x="7720" y="1446"/>
                  </a:moveTo>
                  <a:cubicBezTo>
                    <a:pt x="7720" y="1262"/>
                    <a:pt x="7579" y="1163"/>
                    <a:pt x="7456" y="1114"/>
                  </a:cubicBezTo>
                  <a:cubicBezTo>
                    <a:pt x="7361" y="1078"/>
                    <a:pt x="7296" y="1049"/>
                    <a:pt x="7209" y="1013"/>
                  </a:cubicBezTo>
                  <a:cubicBezTo>
                    <a:pt x="7090" y="962"/>
                    <a:pt x="7023" y="927"/>
                    <a:pt x="7023" y="829"/>
                  </a:cubicBezTo>
                  <a:cubicBezTo>
                    <a:pt x="7023" y="739"/>
                    <a:pt x="7085" y="683"/>
                    <a:pt x="7219" y="683"/>
                  </a:cubicBezTo>
                  <a:cubicBezTo>
                    <a:pt x="7432" y="683"/>
                    <a:pt x="7565" y="884"/>
                    <a:pt x="7565" y="979"/>
                  </a:cubicBezTo>
                  <a:cubicBezTo>
                    <a:pt x="7635" y="979"/>
                    <a:pt x="7635" y="979"/>
                    <a:pt x="7635" y="979"/>
                  </a:cubicBezTo>
                  <a:cubicBezTo>
                    <a:pt x="7635" y="625"/>
                    <a:pt x="7635" y="625"/>
                    <a:pt x="7635" y="625"/>
                  </a:cubicBezTo>
                  <a:cubicBezTo>
                    <a:pt x="7572" y="625"/>
                    <a:pt x="7572" y="625"/>
                    <a:pt x="7572" y="625"/>
                  </a:cubicBezTo>
                  <a:cubicBezTo>
                    <a:pt x="7562" y="649"/>
                    <a:pt x="7543" y="657"/>
                    <a:pt x="7509" y="657"/>
                  </a:cubicBezTo>
                  <a:cubicBezTo>
                    <a:pt x="7422" y="657"/>
                    <a:pt x="7352" y="598"/>
                    <a:pt x="7226" y="598"/>
                  </a:cubicBezTo>
                  <a:cubicBezTo>
                    <a:pt x="7015" y="598"/>
                    <a:pt x="6882" y="707"/>
                    <a:pt x="6882" y="913"/>
                  </a:cubicBezTo>
                  <a:cubicBezTo>
                    <a:pt x="6882" y="1071"/>
                    <a:pt x="6986" y="1160"/>
                    <a:pt x="7124" y="1223"/>
                  </a:cubicBezTo>
                  <a:cubicBezTo>
                    <a:pt x="7216" y="1264"/>
                    <a:pt x="7282" y="1291"/>
                    <a:pt x="7361" y="1325"/>
                  </a:cubicBezTo>
                  <a:cubicBezTo>
                    <a:pt x="7463" y="1367"/>
                    <a:pt x="7577" y="1412"/>
                    <a:pt x="7577" y="1540"/>
                  </a:cubicBezTo>
                  <a:cubicBezTo>
                    <a:pt x="7577" y="1647"/>
                    <a:pt x="7497" y="1695"/>
                    <a:pt x="7354" y="1695"/>
                  </a:cubicBezTo>
                  <a:cubicBezTo>
                    <a:pt x="7107" y="1695"/>
                    <a:pt x="6952" y="1468"/>
                    <a:pt x="6952" y="1361"/>
                  </a:cubicBezTo>
                  <a:cubicBezTo>
                    <a:pt x="6882" y="1361"/>
                    <a:pt x="6882" y="1361"/>
                    <a:pt x="6882" y="1361"/>
                  </a:cubicBezTo>
                  <a:cubicBezTo>
                    <a:pt x="6882" y="1763"/>
                    <a:pt x="6882" y="1763"/>
                    <a:pt x="6882" y="1763"/>
                  </a:cubicBezTo>
                  <a:cubicBezTo>
                    <a:pt x="6938" y="1763"/>
                    <a:pt x="6938" y="1763"/>
                    <a:pt x="6938" y="1763"/>
                  </a:cubicBezTo>
                  <a:cubicBezTo>
                    <a:pt x="6967" y="1737"/>
                    <a:pt x="6979" y="1725"/>
                    <a:pt x="7025" y="1725"/>
                  </a:cubicBezTo>
                  <a:cubicBezTo>
                    <a:pt x="7124" y="1725"/>
                    <a:pt x="7209" y="1790"/>
                    <a:pt x="7354" y="1790"/>
                  </a:cubicBezTo>
                  <a:cubicBezTo>
                    <a:pt x="7570" y="1790"/>
                    <a:pt x="7720" y="1664"/>
                    <a:pt x="7720" y="1446"/>
                  </a:cubicBezTo>
                  <a:close/>
                  <a:moveTo>
                    <a:pt x="2703" y="1584"/>
                  </a:moveTo>
                  <a:cubicBezTo>
                    <a:pt x="2442" y="1584"/>
                    <a:pt x="2282" y="1383"/>
                    <a:pt x="2282" y="1129"/>
                  </a:cubicBezTo>
                  <a:cubicBezTo>
                    <a:pt x="2282" y="860"/>
                    <a:pt x="2391" y="683"/>
                    <a:pt x="2618" y="683"/>
                  </a:cubicBezTo>
                  <a:cubicBezTo>
                    <a:pt x="2815" y="683"/>
                    <a:pt x="2844" y="840"/>
                    <a:pt x="2812" y="1017"/>
                  </a:cubicBezTo>
                  <a:cubicBezTo>
                    <a:pt x="2882" y="1013"/>
                    <a:pt x="2882" y="1013"/>
                    <a:pt x="2882" y="1013"/>
                  </a:cubicBezTo>
                  <a:cubicBezTo>
                    <a:pt x="3049" y="753"/>
                    <a:pt x="3049" y="753"/>
                    <a:pt x="3049" y="753"/>
                  </a:cubicBezTo>
                  <a:cubicBezTo>
                    <a:pt x="2945" y="649"/>
                    <a:pt x="2824" y="596"/>
                    <a:pt x="2645" y="596"/>
                  </a:cubicBezTo>
                  <a:cubicBezTo>
                    <a:pt x="2345" y="596"/>
                    <a:pt x="2100" y="833"/>
                    <a:pt x="2100" y="1201"/>
                  </a:cubicBezTo>
                  <a:cubicBezTo>
                    <a:pt x="2100" y="1526"/>
                    <a:pt x="2306" y="1792"/>
                    <a:pt x="2623" y="1792"/>
                  </a:cubicBezTo>
                  <a:cubicBezTo>
                    <a:pt x="2909" y="1792"/>
                    <a:pt x="3061" y="1635"/>
                    <a:pt x="3136" y="1386"/>
                  </a:cubicBezTo>
                  <a:cubicBezTo>
                    <a:pt x="3066" y="1386"/>
                    <a:pt x="3066" y="1386"/>
                    <a:pt x="3066" y="1386"/>
                  </a:cubicBezTo>
                  <a:cubicBezTo>
                    <a:pt x="2986" y="1519"/>
                    <a:pt x="2902" y="1584"/>
                    <a:pt x="2703" y="1584"/>
                  </a:cubicBezTo>
                  <a:close/>
                  <a:moveTo>
                    <a:pt x="1053" y="1322"/>
                  </a:moveTo>
                  <a:cubicBezTo>
                    <a:pt x="1041" y="1322"/>
                    <a:pt x="1041" y="1322"/>
                    <a:pt x="1041" y="1322"/>
                  </a:cubicBezTo>
                  <a:cubicBezTo>
                    <a:pt x="511" y="0"/>
                    <a:pt x="511" y="0"/>
                    <a:pt x="51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87" y="88"/>
                    <a:pt x="87" y="88"/>
                    <a:pt x="87" y="88"/>
                  </a:cubicBezTo>
                  <a:cubicBezTo>
                    <a:pt x="121" y="88"/>
                    <a:pt x="223" y="184"/>
                    <a:pt x="223" y="221"/>
                  </a:cubicBezTo>
                  <a:cubicBezTo>
                    <a:pt x="223" y="1543"/>
                    <a:pt x="223" y="1543"/>
                    <a:pt x="223" y="1543"/>
                  </a:cubicBezTo>
                  <a:cubicBezTo>
                    <a:pt x="223" y="1579"/>
                    <a:pt x="121" y="1676"/>
                    <a:pt x="87" y="1676"/>
                  </a:cubicBezTo>
                  <a:cubicBezTo>
                    <a:pt x="0" y="1676"/>
                    <a:pt x="0" y="1676"/>
                    <a:pt x="0" y="1676"/>
                  </a:cubicBezTo>
                  <a:cubicBezTo>
                    <a:pt x="0" y="1763"/>
                    <a:pt x="0" y="1763"/>
                    <a:pt x="0" y="1763"/>
                  </a:cubicBezTo>
                  <a:cubicBezTo>
                    <a:pt x="549" y="1763"/>
                    <a:pt x="549" y="1763"/>
                    <a:pt x="549" y="1763"/>
                  </a:cubicBezTo>
                  <a:cubicBezTo>
                    <a:pt x="549" y="1676"/>
                    <a:pt x="549" y="1676"/>
                    <a:pt x="549" y="1676"/>
                  </a:cubicBezTo>
                  <a:cubicBezTo>
                    <a:pt x="462" y="1676"/>
                    <a:pt x="462" y="1676"/>
                    <a:pt x="462" y="1676"/>
                  </a:cubicBezTo>
                  <a:cubicBezTo>
                    <a:pt x="428" y="1676"/>
                    <a:pt x="327" y="1579"/>
                    <a:pt x="327" y="1543"/>
                  </a:cubicBezTo>
                  <a:cubicBezTo>
                    <a:pt x="327" y="233"/>
                    <a:pt x="327" y="233"/>
                    <a:pt x="327" y="233"/>
                  </a:cubicBezTo>
                  <a:cubicBezTo>
                    <a:pt x="968" y="1794"/>
                    <a:pt x="968" y="1794"/>
                    <a:pt x="968" y="1794"/>
                  </a:cubicBezTo>
                  <a:cubicBezTo>
                    <a:pt x="1609" y="259"/>
                    <a:pt x="1609" y="259"/>
                    <a:pt x="1609" y="259"/>
                  </a:cubicBezTo>
                  <a:cubicBezTo>
                    <a:pt x="1609" y="1543"/>
                    <a:pt x="1609" y="1543"/>
                    <a:pt x="1609" y="1543"/>
                  </a:cubicBezTo>
                  <a:cubicBezTo>
                    <a:pt x="1609" y="1579"/>
                    <a:pt x="1507" y="1676"/>
                    <a:pt x="1473" y="1676"/>
                  </a:cubicBezTo>
                  <a:cubicBezTo>
                    <a:pt x="1386" y="1676"/>
                    <a:pt x="1386" y="1676"/>
                    <a:pt x="1386" y="1676"/>
                  </a:cubicBezTo>
                  <a:cubicBezTo>
                    <a:pt x="1386" y="1763"/>
                    <a:pt x="1386" y="1763"/>
                    <a:pt x="1386" y="1763"/>
                  </a:cubicBezTo>
                  <a:cubicBezTo>
                    <a:pt x="2069" y="1763"/>
                    <a:pt x="2069" y="1763"/>
                    <a:pt x="2069" y="1763"/>
                  </a:cubicBezTo>
                  <a:cubicBezTo>
                    <a:pt x="2069" y="1676"/>
                    <a:pt x="2069" y="1676"/>
                    <a:pt x="2069" y="1676"/>
                  </a:cubicBezTo>
                  <a:cubicBezTo>
                    <a:pt x="1983" y="1676"/>
                    <a:pt x="1983" y="1676"/>
                    <a:pt x="1983" y="1676"/>
                  </a:cubicBezTo>
                  <a:cubicBezTo>
                    <a:pt x="1949" y="1676"/>
                    <a:pt x="1848" y="1579"/>
                    <a:pt x="1848" y="1543"/>
                  </a:cubicBezTo>
                  <a:cubicBezTo>
                    <a:pt x="1848" y="221"/>
                    <a:pt x="1848" y="221"/>
                    <a:pt x="1848" y="221"/>
                  </a:cubicBezTo>
                  <a:cubicBezTo>
                    <a:pt x="1848" y="184"/>
                    <a:pt x="1949" y="88"/>
                    <a:pt x="1983" y="88"/>
                  </a:cubicBezTo>
                  <a:cubicBezTo>
                    <a:pt x="2070" y="88"/>
                    <a:pt x="2070" y="88"/>
                    <a:pt x="2070" y="88"/>
                  </a:cubicBezTo>
                  <a:cubicBezTo>
                    <a:pt x="2070" y="0"/>
                    <a:pt x="2070" y="0"/>
                    <a:pt x="2070" y="0"/>
                  </a:cubicBezTo>
                  <a:cubicBezTo>
                    <a:pt x="1610" y="0"/>
                    <a:pt x="1610" y="0"/>
                    <a:pt x="1610" y="0"/>
                  </a:cubicBezTo>
                  <a:lnTo>
                    <a:pt x="1053" y="132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anose="020B0604020202020204" pitchFamily="34" charset="0"/>
              </a:endParaRPr>
            </a:p>
          </p:txBody>
        </p:sp>
      </p:grpSp>
      <p:sp>
        <p:nvSpPr>
          <p:cNvPr id="12" name="ClientLogo">
            <a:extLst>
              <a:ext uri="{FF2B5EF4-FFF2-40B4-BE49-F238E27FC236}">
                <a16:creationId xmlns:a16="http://schemas.microsoft.com/office/drawing/2014/main" id="{5A541723-8353-4CC2-AFDA-19C8B3B786BF}"/>
              </a:ext>
            </a:extLst>
          </p:cNvPr>
          <p:cNvSpPr>
            <a:spLocks noGrp="1"/>
          </p:cNvSpPr>
          <p:nvPr>
            <p:ph type="pic" sz="quarter" idx="14" hasCustomPrompt="1"/>
            <p:custDataLst>
              <p:tags r:id="rId5"/>
            </p:custDataLst>
          </p:nvPr>
        </p:nvSpPr>
        <p:spPr>
          <a:xfrm>
            <a:off x="551942" y="4984025"/>
            <a:ext cx="1901952" cy="969264"/>
          </a:xfrm>
          <a:prstGeom prst="rect">
            <a:avLst/>
          </a:prstGeom>
        </p:spPr>
        <p:txBody>
          <a:bodyPr>
            <a:noAutofit/>
          </a:bodyPr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ent logo goes here.</a:t>
            </a:r>
          </a:p>
        </p:txBody>
      </p:sp>
      <p:sp>
        <p:nvSpPr>
          <p:cNvPr id="13" name="Documenttype">
            <a:extLst>
              <a:ext uri="{FF2B5EF4-FFF2-40B4-BE49-F238E27FC236}">
                <a16:creationId xmlns:a16="http://schemas.microsoft.com/office/drawing/2014/main" id="{A8F38EAB-8863-4F94-ACD0-B6D27373BCC1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6"/>
            </p:custDataLst>
          </p:nvPr>
        </p:nvSpPr>
        <p:spPr>
          <a:xfrm>
            <a:off x="551942" y="4510168"/>
            <a:ext cx="6016752" cy="215444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buNone/>
              <a:defRPr sz="1400">
                <a:solidFill>
                  <a:schemeClr val="tx1"/>
                </a:solidFill>
              </a:defRPr>
            </a:lvl1pPr>
            <a:lvl2pPr marL="115888" indent="0">
              <a:buNone/>
              <a:defRPr>
                <a:solidFill>
                  <a:schemeClr val="bg1"/>
                </a:solidFill>
              </a:defRPr>
            </a:lvl2pPr>
            <a:lvl3pPr marL="466344" indent="0">
              <a:buNone/>
              <a:defRPr>
                <a:solidFill>
                  <a:schemeClr val="bg1"/>
                </a:solidFill>
              </a:defRPr>
            </a:lvl3pPr>
            <a:lvl4pPr marL="813816" indent="0">
              <a:buNone/>
              <a:defRPr>
                <a:solidFill>
                  <a:schemeClr val="bg1"/>
                </a:solidFill>
              </a:defRPr>
            </a:lvl4pPr>
            <a:lvl5pPr marL="1161288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date or title/role</a:t>
            </a:r>
          </a:p>
        </p:txBody>
      </p:sp>
      <p:sp>
        <p:nvSpPr>
          <p:cNvPr id="14" name="Subtitle">
            <a:extLst>
              <a:ext uri="{FF2B5EF4-FFF2-40B4-BE49-F238E27FC236}">
                <a16:creationId xmlns:a16="http://schemas.microsoft.com/office/drawing/2014/main" id="{6C219131-971A-4BF6-8DFB-186691126F2C}"/>
              </a:ext>
            </a:extLst>
          </p:cNvPr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551942" y="4092559"/>
            <a:ext cx="6016752" cy="307777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20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21" name="Title">
            <a:extLst>
              <a:ext uri="{FF2B5EF4-FFF2-40B4-BE49-F238E27FC236}">
                <a16:creationId xmlns:a16="http://schemas.microsoft.com/office/drawing/2014/main" id="{B280F3D7-8B5E-4751-907E-C1D9BEBFDCB8}"/>
              </a:ext>
            </a:extLst>
          </p:cNvPr>
          <p:cNvSpPr>
            <a:spLocks noGrp="1"/>
          </p:cNvSpPr>
          <p:nvPr>
            <p:ph type="title"/>
            <p:custDataLst>
              <p:tags r:id="rId8"/>
            </p:custDataLst>
          </p:nvPr>
        </p:nvSpPr>
        <p:spPr>
          <a:xfrm>
            <a:off x="551942" y="2049805"/>
            <a:ext cx="6016752" cy="1921708"/>
          </a:xfrm>
          <a:prstGeom prst="rect">
            <a:avLst/>
          </a:prstGeom>
        </p:spPr>
        <p:txBody>
          <a:bodyPr anchor="b">
            <a:normAutofit/>
          </a:bodyPr>
          <a:lstStyle>
            <a:lvl1pPr>
              <a:defRPr sz="4400" baseline="0">
                <a:ln w="6350" cap="flat">
                  <a:noFill/>
                  <a:miter lim="800000"/>
                </a:ln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5" name="Disclaimer-English (United States)">
            <a:extLst>
              <a:ext uri="{FF2B5EF4-FFF2-40B4-BE49-F238E27FC236}">
                <a16:creationId xmlns:a16="http://schemas.microsoft.com/office/drawing/2014/main" id="{365FDE2E-B4AC-48A0-8D5A-94F648AEA896}"/>
              </a:ext>
            </a:extLst>
          </p:cNvPr>
          <p:cNvSpPr>
            <a:spLocks noChangeArrowheads="1"/>
          </p:cNvSpPr>
          <p:nvPr userDrawn="1">
            <p:custDataLst>
              <p:tags r:id="rId9"/>
            </p:custDataLst>
          </p:nvPr>
        </p:nvSpPr>
        <p:spPr bwMode="black">
          <a:xfrm>
            <a:off x="551942" y="6190488"/>
            <a:ext cx="4114800" cy="35661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 anchorCtr="0">
            <a:noAutofit/>
          </a:bodyPr>
          <a:lstStyle/>
          <a:p>
            <a:pPr defTabSz="804863" eaLnBrk="0" hangingPunct="0"/>
            <a:r>
              <a:rPr lang="en-US" sz="800">
                <a:solidFill>
                  <a:schemeClr val="tx1"/>
                </a:solidFill>
                <a:latin typeface="+mn-lt"/>
              </a:rPr>
              <a:t>CONFIDENTIAL AND PROPRIETARY</a:t>
            </a:r>
          </a:p>
          <a:p>
            <a:pPr defTabSz="804863" eaLnBrk="0" hangingPunct="0"/>
            <a:r>
              <a:rPr lang="en-US" sz="800">
                <a:solidFill>
                  <a:schemeClr val="tx1"/>
                </a:solidFill>
                <a:latin typeface="+mn-lt"/>
              </a:rPr>
              <a:t>Any use of this material without specific permission is strictly prohibited</a:t>
            </a:r>
            <a:endParaRPr lang="en-US" sz="800" dirty="0">
              <a:solidFill>
                <a:schemeClr val="tx1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68859331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rast 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D01440F-CB45-4B1E-BF2B-97953CB3550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144923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506"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F95EE31F-4647-48C1-8F33-15A7FC3D359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3" name="2. Slide Title">
            <a:extLst>
              <a:ext uri="{FF2B5EF4-FFF2-40B4-BE49-F238E27FC236}">
                <a16:creationId xmlns:a16="http://schemas.microsoft.com/office/drawing/2014/main" id="{5C829ED6-90BF-4B02-AD53-C2B66EC5467C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72212"/>
            <a:ext cx="11082528" cy="731520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2" name="3. Subtitle">
            <a:extLst>
              <a:ext uri="{FF2B5EF4-FFF2-40B4-BE49-F238E27FC236}">
                <a16:creationId xmlns:a16="http://schemas.microsoft.com/office/drawing/2014/main" id="{0F8ABF34-9C24-45F4-B9AE-EDBE37FAC548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4736" y="884725"/>
            <a:ext cx="11082528" cy="276999"/>
          </a:xfr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id="{E4920261-0593-4AC5-992E-73B8CB0A1C71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9" name="5. Source" hidden="1">
            <a:extLst>
              <a:ext uri="{FF2B5EF4-FFF2-40B4-BE49-F238E27FC236}">
                <a16:creationId xmlns:a16="http://schemas.microsoft.com/office/drawing/2014/main" id="{0CC39C66-1ED1-4BBF-87FB-6C74C9A461BE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D1A5E303-71C7-4CBA-843E-F89BEE4870B0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8"/>
            </p:custDataLst>
          </p:nvPr>
        </p:nvSpPr>
        <p:spPr>
          <a:xfrm>
            <a:off x="7156704" y="89319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85451508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rast 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554736" y="1706563"/>
            <a:ext cx="3813048" cy="861774"/>
          </a:xfrm>
          <a:prstGeom prst="rect">
            <a:avLst/>
          </a:prstGeom>
        </p:spPr>
        <p:txBody>
          <a:bodyPr anchor="t">
            <a:noAutofit/>
          </a:bodyPr>
          <a:lstStyle>
            <a:lvl1pPr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E74A6D15-9D93-480F-A207-CA245151AE26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33F722E2-991C-4728-97C9-8D281DB3C594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7" name="1. On-page tracker">
            <a:extLst>
              <a:ext uri="{FF2B5EF4-FFF2-40B4-BE49-F238E27FC236}">
                <a16:creationId xmlns:a16="http://schemas.microsoft.com/office/drawing/2014/main" id="{77F39A1E-9559-4F9B-9322-DA821850F2CA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7156704" y="89319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92196645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rast Mid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554736" y="3044280"/>
            <a:ext cx="5065776" cy="769441"/>
          </a:xfrm>
          <a:prstGeom prst="rect">
            <a:avLst/>
          </a:prstGeom>
        </p:spPr>
        <p:txBody>
          <a:bodyPr rIns="365760" anchor="ctr">
            <a:noAutofit/>
          </a:bodyPr>
          <a:lstStyle>
            <a:lvl1pPr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8CFBA6B2-A084-4532-80C0-2629A5553A76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677DA9EB-F148-4622-AB71-9F38D348578D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6" name="1. On-page tracker">
            <a:extLst>
              <a:ext uri="{FF2B5EF4-FFF2-40B4-BE49-F238E27FC236}">
                <a16:creationId xmlns:a16="http://schemas.microsoft.com/office/drawing/2014/main" id="{5F180569-9F8A-4CFD-8AEA-3EA78CFEFDBE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7156704" y="89319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528294560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rast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2. Slide Title">
            <a:extLst>
              <a:ext uri="{FF2B5EF4-FFF2-40B4-BE49-F238E27FC236}">
                <a16:creationId xmlns:a16="http://schemas.microsoft.com/office/drawing/2014/main" id="{E222DC4C-FD9F-4495-B0EA-3E6F1E35596A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554736" y="4580468"/>
            <a:ext cx="11082528" cy="677108"/>
          </a:xfrm>
        </p:spPr>
        <p:txBody>
          <a:bodyPr anchor="b">
            <a:noAutofit/>
          </a:bodyPr>
          <a:lstStyle>
            <a:lvl1pPr>
              <a:lnSpc>
                <a:spcPct val="100000"/>
              </a:lnSpc>
              <a:defRPr sz="44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9AC4B822-CA6B-4F05-8715-F74C6D5D34B1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4376B40D-309A-4442-81B2-638CDEBB2F76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069A1AA2-18DA-45DB-84E6-54802C0193F5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7156704" y="89319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77501537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100476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458"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9F741700-5035-4E61-A4AC-1B3C7AE220D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5" name="2. Slide Title">
            <a:extLst>
              <a:ext uri="{FF2B5EF4-FFF2-40B4-BE49-F238E27FC236}">
                <a16:creationId xmlns:a16="http://schemas.microsoft.com/office/drawing/2014/main" id="{699FD2C4-82B5-475E-9235-DB128978B618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72212"/>
            <a:ext cx="11082528" cy="73152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D4D36123-678D-4B6C-A648-186F85BE34AE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4736" y="884725"/>
            <a:ext cx="11082528" cy="276999"/>
          </a:xfr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6686DBA-90DA-4033-B950-94CBD0D7A425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A8BAFD1A-3C11-49E6-B76E-5166760AF118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8"/>
            </p:custDataLst>
          </p:nvPr>
        </p:nvSpPr>
        <p:spPr>
          <a:xfrm>
            <a:off x="7156704" y="89319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1608224328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rast 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2. Slide Title">
            <a:extLst>
              <a:ext uri="{FF2B5EF4-FFF2-40B4-BE49-F238E27FC236}">
                <a16:creationId xmlns:a16="http://schemas.microsoft.com/office/drawing/2014/main" id="{FB296734-15F7-4BDF-BF7F-AD560B3E09D7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1505712" y="3556229"/>
            <a:ext cx="9180576" cy="523220"/>
          </a:xfrm>
          <a:prstGeom prst="rect">
            <a:avLst/>
          </a:prstGeom>
        </p:spPr>
        <p:txBody>
          <a:bodyPr>
            <a:spAutoFit/>
          </a:bodyPr>
          <a:lstStyle>
            <a:lvl1pPr>
              <a:lnSpc>
                <a:spcPct val="105000"/>
              </a:lnSpc>
              <a:defRPr sz="3400"/>
            </a:lvl1pPr>
          </a:lstStyle>
          <a:p>
            <a:r>
              <a:rPr lang="en-US" dirty="0"/>
              <a:t>“Click to add quote</a:t>
            </a:r>
          </a:p>
        </p:txBody>
      </p:sp>
      <p:sp>
        <p:nvSpPr>
          <p:cNvPr id="9" name="3. Subtitle">
            <a:extLst>
              <a:ext uri="{FF2B5EF4-FFF2-40B4-BE49-F238E27FC236}">
                <a16:creationId xmlns:a16="http://schemas.microsoft.com/office/drawing/2014/main" id="{F91EA195-0A6B-4141-BE0A-C29B8632D98B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2"/>
            </p:custDataLst>
          </p:nvPr>
        </p:nvSpPr>
        <p:spPr>
          <a:xfrm>
            <a:off x="1505712" y="4284630"/>
            <a:ext cx="9180576" cy="276999"/>
          </a:xfr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add quote source</a:t>
            </a:r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9A085514-D1F6-4D77-A23F-C5C66C21AB2E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1" name="5. Source" hidden="1">
            <a:extLst>
              <a:ext uri="{FF2B5EF4-FFF2-40B4-BE49-F238E27FC236}">
                <a16:creationId xmlns:a16="http://schemas.microsoft.com/office/drawing/2014/main" id="{C5FBD0AF-1EDD-41EB-9A6E-173435ADFFE5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2" name="1. On-page tracker">
            <a:extLst>
              <a:ext uri="{FF2B5EF4-FFF2-40B4-BE49-F238E27FC236}">
                <a16:creationId xmlns:a16="http://schemas.microsoft.com/office/drawing/2014/main" id="{2CCA1113-D6DE-4306-88BB-3E74C4AA2F5E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5"/>
            </p:custDataLst>
          </p:nvPr>
        </p:nvSpPr>
        <p:spPr>
          <a:xfrm>
            <a:off x="7156704" y="89319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231267882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1/4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3A3BA4A-22A3-4843-892F-E42C155B428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293991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369" name="think-cell Slide" r:id="rId16" imgW="413" imgH="416" progId="TCLayout.ActiveDocument.1">
                  <p:embed/>
                </p:oleObj>
              </mc:Choice>
              <mc:Fallback>
                <p:oleObj name="think-cell Slide" r:id="rId16" imgW="413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BF2AED7-361B-4221-9AF6-77A108DA0C2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6" name="RectangleDark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3413760" y="0"/>
            <a:ext cx="8778240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chemeClr val="bg2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 hidden="1">
            <a:extLst>
              <a:ext uri="{FF2B5EF4-FFF2-40B4-BE49-F238E27FC236}">
                <a16:creationId xmlns:a16="http://schemas.microsoft.com/office/drawing/2014/main" id="{7D03BAA3-96F1-4B7C-895E-B9B8CFDDA50B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ACF9526A-1F1C-4E57-8A8D-21EDBC12066F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860F551B-05D0-4883-89B6-6CE418F81F78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554736" y="6453769"/>
            <a:ext cx="2514600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C2A81BD2-BB6D-46F4-A26E-5D243E24DDD3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3715757" y="6453769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Right">
            <a:extLst>
              <a:ext uri="{FF2B5EF4-FFF2-40B4-BE49-F238E27FC236}">
                <a16:creationId xmlns:a16="http://schemas.microsoft.com/office/drawing/2014/main" id="{AD6B0CAC-AB2A-44BD-A5F1-181F096A1CA7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3715757" y="1181906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TopLineLeft">
            <a:extLst>
              <a:ext uri="{FF2B5EF4-FFF2-40B4-BE49-F238E27FC236}">
                <a16:creationId xmlns:a16="http://schemas.microsoft.com/office/drawing/2014/main" id="{B80458B7-DA1A-4215-B701-10FAC61D0E28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1181906"/>
            <a:ext cx="2514600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2. Slide Title">
            <a:extLst>
              <a:ext uri="{FF2B5EF4-FFF2-40B4-BE49-F238E27FC236}">
                <a16:creationId xmlns:a16="http://schemas.microsoft.com/office/drawing/2014/main" id="{7C125983-42A9-42F7-AA00-F56CD87B285E}"/>
              </a:ext>
            </a:extLst>
          </p:cNvPr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554736" y="2744369"/>
            <a:ext cx="2514600" cy="769441"/>
          </a:xfrm>
        </p:spPr>
        <p:txBody>
          <a:bodyPr anchor="b">
            <a:noAutofit/>
          </a:bodyPr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9D41FF9F-DFB7-4DFF-B338-08A2CA649393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6" y="3659644"/>
            <a:ext cx="2514600" cy="553998"/>
          </a:xfr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bg2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064AC035-5239-45FF-8383-33CBCD30D33E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18" name="1. On-page tracker">
            <a:extLst>
              <a:ext uri="{FF2B5EF4-FFF2-40B4-BE49-F238E27FC236}">
                <a16:creationId xmlns:a16="http://schemas.microsoft.com/office/drawing/2014/main" id="{63369B22-0805-4115-8106-351A57E7D4C6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4"/>
            </p:custDataLst>
          </p:nvPr>
        </p:nvSpPr>
        <p:spPr>
          <a:xfrm>
            <a:off x="7156704" y="89319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194380772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1/3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6AD2A36-39D2-411F-97A0-A924098965A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92078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434" name="think-cell Slide" r:id="rId16" imgW="413" imgH="416" progId="TCLayout.ActiveDocument.1">
                  <p:embed/>
                </p:oleObj>
              </mc:Choice>
              <mc:Fallback>
                <p:oleObj name="think-cell Slide" r:id="rId16" imgW="413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4E67A342-8C8E-4A76-A2F2-1541645630AD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6" name="RectangleDark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4364736" y="0"/>
            <a:ext cx="7827264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chemeClr val="bg2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 hidden="1">
            <a:extLst>
              <a:ext uri="{FF2B5EF4-FFF2-40B4-BE49-F238E27FC236}">
                <a16:creationId xmlns:a16="http://schemas.microsoft.com/office/drawing/2014/main" id="{2D4C39DE-34D3-430B-A68C-3662DBF9F427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6B65DC7-979F-4AB7-9872-8CF5F2DCB753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C2A81BD2-BB6D-46F4-A26E-5D243E24DDD3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4671219" y="6453769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860F551B-05D0-4883-89B6-6CE418F81F78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554736" y="6453769"/>
            <a:ext cx="3465576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Right">
            <a:extLst>
              <a:ext uri="{FF2B5EF4-FFF2-40B4-BE49-F238E27FC236}">
                <a16:creationId xmlns:a16="http://schemas.microsoft.com/office/drawing/2014/main" id="{AD6B0CAC-AB2A-44BD-A5F1-181F096A1CA7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4671219" y="1181906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TopLineLeft">
            <a:extLst>
              <a:ext uri="{FF2B5EF4-FFF2-40B4-BE49-F238E27FC236}">
                <a16:creationId xmlns:a16="http://schemas.microsoft.com/office/drawing/2014/main" id="{B80458B7-DA1A-4215-B701-10FAC61D0E28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1181906"/>
            <a:ext cx="3465576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2. Slide Title">
            <a:extLst>
              <a:ext uri="{FF2B5EF4-FFF2-40B4-BE49-F238E27FC236}">
                <a16:creationId xmlns:a16="http://schemas.microsoft.com/office/drawing/2014/main" id="{F2EA5A09-84EC-4368-8C76-0BEA141A4333}"/>
              </a:ext>
            </a:extLst>
          </p:cNvPr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554736" y="2744369"/>
            <a:ext cx="3465576" cy="769441"/>
          </a:xfrm>
          <a:prstGeom prst="rect">
            <a:avLst/>
          </a:prstGeom>
        </p:spPr>
        <p:txBody>
          <a:bodyPr wrap="square" anchor="b">
            <a:noAutofit/>
          </a:bodyPr>
          <a:lstStyle>
            <a:lvl1pPr algn="l">
              <a:defRPr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1" name="3. Subtitle">
            <a:extLst>
              <a:ext uri="{FF2B5EF4-FFF2-40B4-BE49-F238E27FC236}">
                <a16:creationId xmlns:a16="http://schemas.microsoft.com/office/drawing/2014/main" id="{4BAE0A91-D3D3-4C9A-9F81-3C13D960A341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5" y="3659644"/>
            <a:ext cx="3465575" cy="276999"/>
          </a:xfr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bg2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5" name="5. Source" hidden="1">
            <a:extLst>
              <a:ext uri="{FF2B5EF4-FFF2-40B4-BE49-F238E27FC236}">
                <a16:creationId xmlns:a16="http://schemas.microsoft.com/office/drawing/2014/main" id="{6BA86AD8-0ECF-4EA8-B346-D8EA2716E80C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18" name="1. On-page tracker">
            <a:extLst>
              <a:ext uri="{FF2B5EF4-FFF2-40B4-BE49-F238E27FC236}">
                <a16:creationId xmlns:a16="http://schemas.microsoft.com/office/drawing/2014/main" id="{3109F943-2570-4786-9DDF-D79F8B316D1A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4"/>
            </p:custDataLst>
          </p:nvPr>
        </p:nvSpPr>
        <p:spPr>
          <a:xfrm>
            <a:off x="7156704" y="89319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128788021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1/2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Dark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1"/>
            </p:custDataLst>
          </p:nvPr>
        </p:nvSpPr>
        <p:spPr bwMode="ltGray">
          <a:xfrm>
            <a:off x="6092952" y="0"/>
            <a:ext cx="6099048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LogoText" hidden="1">
            <a:extLst>
              <a:ext uri="{FF2B5EF4-FFF2-40B4-BE49-F238E27FC236}">
                <a16:creationId xmlns:a16="http://schemas.microsoft.com/office/drawing/2014/main" id="{609F85FD-B74A-4A4E-BFA9-7668DD6BCB90}"/>
              </a:ext>
            </a:extLst>
          </p:cNvPr>
          <p:cNvSpPr txBox="1"/>
          <p:nvPr userDrawn="1">
            <p:custDataLst>
              <p:tags r:id="rId2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A030B95D-1D90-4A27-8714-CFE7C7DB7020}"/>
              </a:ext>
            </a:extLst>
          </p:cNvPr>
          <p:cNvCxnSpPr/>
          <p:nvPr userDrawn="1">
            <p:custDataLst>
              <p:tags r:id="rId4"/>
            </p:custDataLst>
          </p:nvPr>
        </p:nvCxnSpPr>
        <p:spPr>
          <a:xfrm>
            <a:off x="6573171" y="6453769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546D990A-A0D7-434B-9320-6311D017DAA2}"/>
              </a:ext>
            </a:extLst>
          </p:cNvPr>
          <p:cNvCxnSpPr/>
          <p:nvPr userDrawn="1">
            <p:custDataLst>
              <p:tags r:id="rId5"/>
            </p:custDataLst>
          </p:nvPr>
        </p:nvCxnSpPr>
        <p:spPr>
          <a:xfrm>
            <a:off x="554736" y="6453769"/>
            <a:ext cx="5065776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TopLineRight">
            <a:extLst>
              <a:ext uri="{FF2B5EF4-FFF2-40B4-BE49-F238E27FC236}">
                <a16:creationId xmlns:a16="http://schemas.microsoft.com/office/drawing/2014/main" id="{9388C4F9-67A3-422B-89FF-FAD8454A2F57}"/>
              </a:ext>
            </a:extLst>
          </p:cNvPr>
          <p:cNvCxnSpPr/>
          <p:nvPr userDrawn="1">
            <p:custDataLst>
              <p:tags r:id="rId6"/>
            </p:custDataLst>
          </p:nvPr>
        </p:nvCxnSpPr>
        <p:spPr>
          <a:xfrm>
            <a:off x="6573171" y="1181906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" name="TopLineLeft">
            <a:extLst>
              <a:ext uri="{FF2B5EF4-FFF2-40B4-BE49-F238E27FC236}">
                <a16:creationId xmlns:a16="http://schemas.microsoft.com/office/drawing/2014/main" id="{1C0D7255-5C21-4254-B3DE-6D296E69C5F2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554736" y="1181906"/>
            <a:ext cx="5065776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2. Slide Title">
            <a:extLst>
              <a:ext uri="{FF2B5EF4-FFF2-40B4-BE49-F238E27FC236}">
                <a16:creationId xmlns:a16="http://schemas.microsoft.com/office/drawing/2014/main" id="{80B9914A-DB55-4BC1-945B-6BCB69651471}"/>
              </a:ext>
            </a:extLst>
          </p:cNvPr>
          <p:cNvSpPr>
            <a:spLocks noGrp="1"/>
          </p:cNvSpPr>
          <p:nvPr>
            <p:ph type="title"/>
            <p:custDataLst>
              <p:tags r:id="rId8"/>
            </p:custDataLst>
          </p:nvPr>
        </p:nvSpPr>
        <p:spPr>
          <a:xfrm>
            <a:off x="554736" y="172212"/>
            <a:ext cx="5065776" cy="731520"/>
          </a:xfrm>
        </p:spPr>
        <p:txBody>
          <a:bodyPr/>
          <a:lstStyle>
            <a:lvl1pPr>
              <a:defRPr>
                <a:solidFill>
                  <a:sysClr val="windowText" lastClr="000000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1" name="3. Subtitle">
            <a:extLst>
              <a:ext uri="{FF2B5EF4-FFF2-40B4-BE49-F238E27FC236}">
                <a16:creationId xmlns:a16="http://schemas.microsoft.com/office/drawing/2014/main" id="{DFAFB1F1-9351-4B71-8B28-70BD6B35E3B1}"/>
              </a:ext>
            </a:extLst>
          </p:cNvPr>
          <p:cNvSpPr>
            <a:spLocks noGrp="1"/>
          </p:cNvSpPr>
          <p:nvPr>
            <p:ph type="subTitle" idx="1"/>
            <p:custDataLst>
              <p:tags r:id="rId9"/>
            </p:custDataLst>
          </p:nvPr>
        </p:nvSpPr>
        <p:spPr>
          <a:xfrm>
            <a:off x="554736" y="884725"/>
            <a:ext cx="5065776" cy="276999"/>
          </a:xfr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ysClr val="windowText" lastClr="000000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9" name="5. Source" hidden="1">
            <a:extLst>
              <a:ext uri="{FF2B5EF4-FFF2-40B4-BE49-F238E27FC236}">
                <a16:creationId xmlns:a16="http://schemas.microsoft.com/office/drawing/2014/main" id="{4F4B7457-0497-46CF-9E9B-69EB8E74CC15}"/>
              </a:ext>
            </a:extLst>
          </p:cNvPr>
          <p:cNvSpPr txBox="1"/>
          <p:nvPr userDrawn="1">
            <p:custDataLst>
              <p:tags r:id="rId10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22" name="1. On-page tracker">
            <a:extLst>
              <a:ext uri="{FF2B5EF4-FFF2-40B4-BE49-F238E27FC236}">
                <a16:creationId xmlns:a16="http://schemas.microsoft.com/office/drawing/2014/main" id="{69CA174A-B3CF-496F-A949-9AB132B79562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1"/>
            </p:custDataLst>
          </p:nvPr>
        </p:nvSpPr>
        <p:spPr>
          <a:xfrm>
            <a:off x="7156704" y="89319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1224719349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2/3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CB55F70-6D9A-415C-82BE-CBDB3A3541E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193292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530" name="think-cell Slide" r:id="rId16" imgW="413" imgH="416" progId="TCLayout.ActiveDocument.1">
                  <p:embed/>
                </p:oleObj>
              </mc:Choice>
              <mc:Fallback>
                <p:oleObj name="think-cell Slide" r:id="rId16" imgW="413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07F893DE-55B2-4BF3-87B6-545011BEFD97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20" name="2. Slide Title">
            <a:extLst>
              <a:ext uri="{FF2B5EF4-FFF2-40B4-BE49-F238E27FC236}">
                <a16:creationId xmlns:a16="http://schemas.microsoft.com/office/drawing/2014/main" id="{E1D61C74-F3E2-42EF-998D-BEC7B3EBD0BC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72212"/>
            <a:ext cx="6967728" cy="731520"/>
          </a:xfrm>
        </p:spPr>
        <p:txBody>
          <a:bodyPr/>
          <a:lstStyle>
            <a:lvl1pPr>
              <a:defRPr>
                <a:solidFill>
                  <a:sysClr val="windowText" lastClr="000000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RectangleDark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5"/>
            </p:custDataLst>
          </p:nvPr>
        </p:nvSpPr>
        <p:spPr bwMode="ltGray">
          <a:xfrm>
            <a:off x="7830312" y="0"/>
            <a:ext cx="4361688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 hidden="1">
            <a:extLst>
              <a:ext uri="{FF2B5EF4-FFF2-40B4-BE49-F238E27FC236}">
                <a16:creationId xmlns:a16="http://schemas.microsoft.com/office/drawing/2014/main" id="{AEC46ACE-42CD-4304-9E51-86DBC38CA4EB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B7A7C0C-AC02-4989-860B-73442D510162}"/>
              </a:ext>
            </a:extLst>
          </p:cNvPr>
          <p:cNvSpPr>
            <a:spLocks noChangeArrowheads="1"/>
          </p:cNvSpPr>
          <p:nvPr userDrawn="1">
            <p:custDataLst>
              <p:tags r:id="rId7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2" name="BottomLineRight">
            <a:extLst>
              <a:ext uri="{FF2B5EF4-FFF2-40B4-BE49-F238E27FC236}">
                <a16:creationId xmlns:a16="http://schemas.microsoft.com/office/drawing/2014/main" id="{6425396B-5490-4E4D-8EA4-E4AB4F98BF62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 bwMode="black">
          <a:xfrm>
            <a:off x="8173371" y="6453769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BottomLineLeft">
            <a:extLst>
              <a:ext uri="{FF2B5EF4-FFF2-40B4-BE49-F238E27FC236}">
                <a16:creationId xmlns:a16="http://schemas.microsoft.com/office/drawing/2014/main" id="{570396F1-4249-402C-975E-F70778173C25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554736" y="6453769"/>
            <a:ext cx="6967728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TopLineRight">
            <a:extLst>
              <a:ext uri="{FF2B5EF4-FFF2-40B4-BE49-F238E27FC236}">
                <a16:creationId xmlns:a16="http://schemas.microsoft.com/office/drawing/2014/main" id="{C5BD98EE-C09E-457E-A028-EBE485145AA3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8173371" y="1181906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TopLineLeft">
            <a:extLst>
              <a:ext uri="{FF2B5EF4-FFF2-40B4-BE49-F238E27FC236}">
                <a16:creationId xmlns:a16="http://schemas.microsoft.com/office/drawing/2014/main" id="{47D3FB95-30DE-4983-B5AE-01B80542C0DD}"/>
              </a:ext>
            </a:extLst>
          </p:cNvPr>
          <p:cNvCxnSpPr/>
          <p:nvPr userDrawn="1">
            <p:custDataLst>
              <p:tags r:id="rId11"/>
            </p:custDataLst>
          </p:nvPr>
        </p:nvCxnSpPr>
        <p:spPr>
          <a:xfrm>
            <a:off x="554736" y="1181906"/>
            <a:ext cx="6967728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3. Subtitle">
            <a:extLst>
              <a:ext uri="{FF2B5EF4-FFF2-40B4-BE49-F238E27FC236}">
                <a16:creationId xmlns:a16="http://schemas.microsoft.com/office/drawing/2014/main" id="{48CA3F7F-79C3-4776-BD80-2B6BECA0AF60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6" y="884725"/>
            <a:ext cx="6967728" cy="276999"/>
          </a:xfr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ysClr val="windowText" lastClr="000000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8" name="5. Source" hidden="1">
            <a:extLst>
              <a:ext uri="{FF2B5EF4-FFF2-40B4-BE49-F238E27FC236}">
                <a16:creationId xmlns:a16="http://schemas.microsoft.com/office/drawing/2014/main" id="{143701BF-655B-4E75-9AF7-14445CDB19BD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>
          <a:xfrm>
            <a:off x="554735" y="6501669"/>
            <a:ext cx="6967729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15" name="1. On-page tracker">
            <a:extLst>
              <a:ext uri="{FF2B5EF4-FFF2-40B4-BE49-F238E27FC236}">
                <a16:creationId xmlns:a16="http://schemas.microsoft.com/office/drawing/2014/main" id="{CFC537C1-0243-4328-8607-D7E4669ABA69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4"/>
            </p:custDataLst>
          </p:nvPr>
        </p:nvSpPr>
        <p:spPr>
          <a:xfrm>
            <a:off x="8174736" y="89319"/>
            <a:ext cx="3465576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2169503006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3/4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B19533A-7C36-4239-BCB1-336E4EF4EA9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529" name="think-cell Slide" r:id="rId16" imgW="473" imgH="473" progId="TCLayout.ActiveDocument.1">
                  <p:embed/>
                </p:oleObj>
              </mc:Choice>
              <mc:Fallback>
                <p:oleObj name="think-cell Slide" r:id="rId16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B19533A-7C36-4239-BCB1-336E4EF4EA9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8F94EA0-F844-4358-BAB1-09AA056D6AC4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2500" b="1" i="0" u="none" strike="noStrike" kern="1200" cap="none" spc="0" normalizeH="0" baseline="0" noProof="0" dirty="0" err="1">
              <a:ln>
                <a:noFill/>
              </a:ln>
              <a:solidFill>
                <a:srgbClr val="051C2C"/>
              </a:solidFill>
              <a:effectLst/>
              <a:uLnTx/>
              <a:uFillTx/>
              <a:latin typeface="Georgia" panose="02040502050405020303" pitchFamily="18" charset="0"/>
              <a:ea typeface="+mn-ea"/>
              <a:cs typeface="+mn-cs"/>
              <a:sym typeface="Georgia" panose="02040502050405020303" pitchFamily="18" charset="0"/>
            </a:endParaRPr>
          </a:p>
        </p:txBody>
      </p:sp>
      <p:sp>
        <p:nvSpPr>
          <p:cNvPr id="22" name="RectangleLight">
            <a:extLst>
              <a:ext uri="{FF2B5EF4-FFF2-40B4-BE49-F238E27FC236}">
                <a16:creationId xmlns:a16="http://schemas.microsoft.com/office/drawing/2014/main" id="{65BA59B8-E166-40EF-A08B-73C27149A153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8781416" y="0"/>
            <a:ext cx="3410584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7" name="SlideLogoText" hidden="1">
            <a:extLst>
              <a:ext uri="{FF2B5EF4-FFF2-40B4-BE49-F238E27FC236}">
                <a16:creationId xmlns:a16="http://schemas.microsoft.com/office/drawing/2014/main" id="{609F85FD-B74A-4A4E-BFA9-7668DD6BCB90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6107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6107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23" name="BottomLineRight">
            <a:extLst>
              <a:ext uri="{FF2B5EF4-FFF2-40B4-BE49-F238E27FC236}">
                <a16:creationId xmlns:a16="http://schemas.microsoft.com/office/drawing/2014/main" id="{2638C600-7B94-46B1-84A4-8C9047694283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9119861" y="6453769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BottomLineLeft">
            <a:extLst>
              <a:ext uri="{FF2B5EF4-FFF2-40B4-BE49-F238E27FC236}">
                <a16:creationId xmlns:a16="http://schemas.microsoft.com/office/drawing/2014/main" id="{B99699F0-BA7E-4449-B3AE-B5E796EBA187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554736" y="6453769"/>
            <a:ext cx="7918704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TopLineRight">
            <a:extLst>
              <a:ext uri="{FF2B5EF4-FFF2-40B4-BE49-F238E27FC236}">
                <a16:creationId xmlns:a16="http://schemas.microsoft.com/office/drawing/2014/main" id="{C34BF1E9-D917-4FD9-B9F4-CB69675F1DDF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9119861" y="1181906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TopLineLeft">
            <a:extLst>
              <a:ext uri="{FF2B5EF4-FFF2-40B4-BE49-F238E27FC236}">
                <a16:creationId xmlns:a16="http://schemas.microsoft.com/office/drawing/2014/main" id="{D35815C2-596B-44C1-B9BE-5474DFE650BA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1181906"/>
            <a:ext cx="7918704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2. Slide Title">
            <a:extLst>
              <a:ext uri="{FF2B5EF4-FFF2-40B4-BE49-F238E27FC236}">
                <a16:creationId xmlns:a16="http://schemas.microsoft.com/office/drawing/2014/main" id="{80B9914A-DB55-4BC1-945B-6BCB69651471}"/>
              </a:ext>
            </a:extLst>
          </p:cNvPr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554736" y="172212"/>
            <a:ext cx="7918704" cy="731520"/>
          </a:xfrm>
        </p:spPr>
        <p:txBody>
          <a:bodyPr/>
          <a:lstStyle>
            <a:lvl1pPr>
              <a:defRPr>
                <a:solidFill>
                  <a:sysClr val="windowText" lastClr="000000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1" name="3. Subtitle">
            <a:extLst>
              <a:ext uri="{FF2B5EF4-FFF2-40B4-BE49-F238E27FC236}">
                <a16:creationId xmlns:a16="http://schemas.microsoft.com/office/drawing/2014/main" id="{DFAFB1F1-9351-4B71-8B28-70BD6B35E3B1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6" y="884725"/>
            <a:ext cx="7918704" cy="276999"/>
          </a:xfr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ysClr val="windowText" lastClr="000000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9" name="5. Source" hidden="1">
            <a:extLst>
              <a:ext uri="{FF2B5EF4-FFF2-40B4-BE49-F238E27FC236}">
                <a16:creationId xmlns:a16="http://schemas.microsoft.com/office/drawing/2014/main" id="{4F4B7457-0497-46CF-9E9B-69EB8E74CC15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  <p:sp>
        <p:nvSpPr>
          <p:cNvPr id="15" name="1. On-page tracker">
            <a:extLst>
              <a:ext uri="{FF2B5EF4-FFF2-40B4-BE49-F238E27FC236}">
                <a16:creationId xmlns:a16="http://schemas.microsoft.com/office/drawing/2014/main" id="{16B54141-9CE9-413A-96EA-6AC5780A43DB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4"/>
            </p:custDataLst>
          </p:nvPr>
        </p:nvSpPr>
        <p:spPr>
          <a:xfrm>
            <a:off x="9116568" y="89319"/>
            <a:ext cx="2523744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1413098168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3-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3" name="BottomLine">
            <a:extLst>
              <a:ext uri="{FF2B5EF4-FFF2-40B4-BE49-F238E27FC236}">
                <a16:creationId xmlns:a16="http://schemas.microsoft.com/office/drawing/2014/main" id="{1A205B6C-F79D-4193-9FCF-230AF1D51716}"/>
              </a:ext>
            </a:extLst>
          </p:cNvPr>
          <p:cNvCxnSpPr/>
          <p:nvPr userDrawn="1">
            <p:custDataLst>
              <p:tags r:id="rId1"/>
            </p:custDataLst>
          </p:nvPr>
        </p:nvCxnSpPr>
        <p:spPr>
          <a:xfrm>
            <a:off x="554736" y="6453769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TopLine">
            <a:extLst>
              <a:ext uri="{FF2B5EF4-FFF2-40B4-BE49-F238E27FC236}">
                <a16:creationId xmlns:a16="http://schemas.microsoft.com/office/drawing/2014/main" id="{CB6CF5F8-7994-4E97-9AE6-6C98CE30967C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1181906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SlideLogoText" hidden="1">
            <a:extLst>
              <a:ext uri="{FF2B5EF4-FFF2-40B4-BE49-F238E27FC236}">
                <a16:creationId xmlns:a16="http://schemas.microsoft.com/office/drawing/2014/main" id="{B789CE62-716F-47B1-B8FE-60436A1FA5A7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id="{0AA537C7-2883-43C1-848C-3A4E9645077F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4" name="2. Slide Title">
            <a:extLst>
              <a:ext uri="{FF2B5EF4-FFF2-40B4-BE49-F238E27FC236}">
                <a16:creationId xmlns:a16="http://schemas.microsoft.com/office/drawing/2014/main" id="{6C3D89FC-A4B9-4683-B64F-B0644150274F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175171"/>
            <a:ext cx="11082528" cy="989512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0" name="5. Source" hidden="1">
            <a:extLst>
              <a:ext uri="{FF2B5EF4-FFF2-40B4-BE49-F238E27FC236}">
                <a16:creationId xmlns:a16="http://schemas.microsoft.com/office/drawing/2014/main" id="{67B1A162-B59D-4B89-B39B-FBDD9E751175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29EB75A9-1622-4264-ADA5-F4AA4329A737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7"/>
            </p:custDataLst>
          </p:nvPr>
        </p:nvSpPr>
        <p:spPr>
          <a:xfrm>
            <a:off x="7156704" y="89319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1546407957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LogoText" hidden="1">
            <a:extLst>
              <a:ext uri="{FF2B5EF4-FFF2-40B4-BE49-F238E27FC236}">
                <a16:creationId xmlns:a16="http://schemas.microsoft.com/office/drawing/2014/main" id="{2F705A80-1DB0-43C3-A71A-9587E6BCC3AD}"/>
              </a:ext>
            </a:extLst>
          </p:cNvPr>
          <p:cNvSpPr txBox="1"/>
          <p:nvPr userDrawn="1">
            <p:custDataLst>
              <p:tags r:id="rId1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5" name="Slide Number">
            <a:extLst>
              <a:ext uri="{FF2B5EF4-FFF2-40B4-BE49-F238E27FC236}">
                <a16:creationId xmlns:a16="http://schemas.microsoft.com/office/drawing/2014/main" id="{4833D5AF-2A75-4978-AA54-00BA594BBA72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48684DB6-320C-4E95-A29C-791B412C8164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98598FB4-AA74-4A03-9184-C871CF56BAAC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7156704" y="89319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19649062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End">
    <p:bg>
      <p:bgPr>
        <a:blipFill dpi="0" rotWithShape="1">
          <a:blip r:embed="rId6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D491B0EE-37B4-4A8C-9C8F-48909747EA0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844785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9713" name="think-cell Slide" r:id="rId7" imgW="344" imgH="344" progId="TCLayout.ActiveDocument.1">
                  <p:embed/>
                </p:oleObj>
              </mc:Choice>
              <mc:Fallback>
                <p:oleObj name="think-cell Slide" r:id="rId7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artnership">
            <a:extLst>
              <a:ext uri="{FF2B5EF4-FFF2-40B4-BE49-F238E27FC236}">
                <a16:creationId xmlns:a16="http://schemas.microsoft.com/office/drawing/2014/main" id="{FCA4B8D5-471D-4239-A62C-7BEFF7AC42FA}"/>
              </a:ext>
            </a:extLst>
          </p:cNvPr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grpSp>
        <p:nvGrpSpPr>
          <p:cNvPr id="6" name="LogoImage" hidden="1">
            <a:extLst>
              <a:ext uri="{FF2B5EF4-FFF2-40B4-BE49-F238E27FC236}">
                <a16:creationId xmlns:a16="http://schemas.microsoft.com/office/drawing/2014/main" id="{280FE25E-C8A9-4A63-9254-D200989A2E09}"/>
              </a:ext>
            </a:extLst>
          </p:cNvPr>
          <p:cNvGrpSpPr>
            <a:grpSpLocks noChangeAspect="1"/>
          </p:cNvGrpSpPr>
          <p:nvPr userDrawn="1">
            <p:custDataLst>
              <p:tags r:id="rId3"/>
            </p:custDataLst>
          </p:nvPr>
        </p:nvGrpSpPr>
        <p:grpSpPr bwMode="black">
          <a:xfrm>
            <a:off x="549271" y="481161"/>
            <a:ext cx="1893202" cy="585216"/>
            <a:chOff x="0" y="973"/>
            <a:chExt cx="7680" cy="2374"/>
          </a:xfrm>
        </p:grpSpPr>
        <p:sp>
          <p:nvSpPr>
            <p:cNvPr id="8" name="AutoShape 3" hidden="1">
              <a:extLst>
                <a:ext uri="{FF2B5EF4-FFF2-40B4-BE49-F238E27FC236}">
                  <a16:creationId xmlns:a16="http://schemas.microsoft.com/office/drawing/2014/main" id="{FD120780-E7D0-42EA-AB5A-363335299EBE}"/>
                </a:ext>
              </a:extLst>
            </p:cNvPr>
            <p:cNvSpPr>
              <a:spLocks noChangeAspect="1" noChangeArrowheads="1" noTextEdit="1"/>
            </p:cNvSpPr>
            <p:nvPr userDrawn="1"/>
          </p:nvSpPr>
          <p:spPr bwMode="black">
            <a:xfrm>
              <a:off x="0" y="973"/>
              <a:ext cx="7680" cy="23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anose="020B0604020202020204" pitchFamily="34" charset="0"/>
              </a:endParaRPr>
            </a:p>
          </p:txBody>
        </p:sp>
        <p:sp>
          <p:nvSpPr>
            <p:cNvPr id="9" name="Freeform 5" hidden="1">
              <a:extLst>
                <a:ext uri="{FF2B5EF4-FFF2-40B4-BE49-F238E27FC236}">
                  <a16:creationId xmlns:a16="http://schemas.microsoft.com/office/drawing/2014/main" id="{A9C60168-96E8-4CC3-91EC-B2F7F57959D9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0" y="974"/>
              <a:ext cx="7680" cy="2373"/>
            </a:xfrm>
            <a:custGeom>
              <a:avLst/>
              <a:gdLst>
                <a:gd name="T0" fmla="*/ 4209 w 15155"/>
                <a:gd name="T1" fmla="*/ 2986 h 4678"/>
                <a:gd name="T2" fmla="*/ 3707 w 15155"/>
                <a:gd name="T3" fmla="*/ 2422 h 4678"/>
                <a:gd name="T4" fmla="*/ 3712 w 15155"/>
                <a:gd name="T5" fmla="*/ 2340 h 4678"/>
                <a:gd name="T6" fmla="*/ 4724 w 15155"/>
                <a:gd name="T7" fmla="*/ 4124 h 4678"/>
                <a:gd name="T8" fmla="*/ 3330 w 15155"/>
                <a:gd name="T9" fmla="*/ 3521 h 4678"/>
                <a:gd name="T10" fmla="*/ 5673 w 15155"/>
                <a:gd name="T11" fmla="*/ 3002 h 4678"/>
                <a:gd name="T12" fmla="*/ 6627 w 15155"/>
                <a:gd name="T13" fmla="*/ 2408 h 4678"/>
                <a:gd name="T14" fmla="*/ 6279 w 15155"/>
                <a:gd name="T15" fmla="*/ 4007 h 4678"/>
                <a:gd name="T16" fmla="*/ 10270 w 15155"/>
                <a:gd name="T17" fmla="*/ 3073 h 4678"/>
                <a:gd name="T18" fmla="*/ 10801 w 15155"/>
                <a:gd name="T19" fmla="*/ 4678 h 4678"/>
                <a:gd name="T20" fmla="*/ 11466 w 15155"/>
                <a:gd name="T21" fmla="*/ 3537 h 4678"/>
                <a:gd name="T22" fmla="*/ 10602 w 15155"/>
                <a:gd name="T23" fmla="*/ 3405 h 4678"/>
                <a:gd name="T24" fmla="*/ 14762 w 15155"/>
                <a:gd name="T25" fmla="*/ 3073 h 4678"/>
                <a:gd name="T26" fmla="*/ 14505 w 15155"/>
                <a:gd name="T27" fmla="*/ 2986 h 4678"/>
                <a:gd name="T28" fmla="*/ 14145 w 15155"/>
                <a:gd name="T29" fmla="*/ 4620 h 4678"/>
                <a:gd name="T30" fmla="*/ 15155 w 15155"/>
                <a:gd name="T31" fmla="*/ 2986 h 4678"/>
                <a:gd name="T32" fmla="*/ 10231 w 15155"/>
                <a:gd name="T33" fmla="*/ 4037 h 4678"/>
                <a:gd name="T34" fmla="*/ 9005 w 15155"/>
                <a:gd name="T35" fmla="*/ 2961 h 4678"/>
                <a:gd name="T36" fmla="*/ 8378 w 15155"/>
                <a:gd name="T37" fmla="*/ 3194 h 4678"/>
                <a:gd name="T38" fmla="*/ 8775 w 15155"/>
                <a:gd name="T39" fmla="*/ 4037 h 4678"/>
                <a:gd name="T40" fmla="*/ 9107 w 15155"/>
                <a:gd name="T41" fmla="*/ 3916 h 4678"/>
                <a:gd name="T42" fmla="*/ 9439 w 15155"/>
                <a:gd name="T43" fmla="*/ 4037 h 4678"/>
                <a:gd name="T44" fmla="*/ 9712 w 15155"/>
                <a:gd name="T45" fmla="*/ 4037 h 4678"/>
                <a:gd name="T46" fmla="*/ 7962 w 15155"/>
                <a:gd name="T47" fmla="*/ 3741 h 4678"/>
                <a:gd name="T48" fmla="*/ 7962 w 15155"/>
                <a:gd name="T49" fmla="*/ 3741 h 4678"/>
                <a:gd name="T50" fmla="*/ 12654 w 15155"/>
                <a:gd name="T51" fmla="*/ 2986 h 4678"/>
                <a:gd name="T52" fmla="*/ 12586 w 15155"/>
                <a:gd name="T53" fmla="*/ 4036 h 4678"/>
                <a:gd name="T54" fmla="*/ 11780 w 15155"/>
                <a:gd name="T55" fmla="*/ 3367 h 4678"/>
                <a:gd name="T56" fmla="*/ 11871 w 15155"/>
                <a:gd name="T57" fmla="*/ 4146 h 4678"/>
                <a:gd name="T58" fmla="*/ 13060 w 15155"/>
                <a:gd name="T59" fmla="*/ 3917 h 4678"/>
                <a:gd name="T60" fmla="*/ 13423 w 15155"/>
                <a:gd name="T61" fmla="*/ 4037 h 4678"/>
                <a:gd name="T62" fmla="*/ 12250 w 15155"/>
                <a:gd name="T63" fmla="*/ 3787 h 4678"/>
                <a:gd name="T64" fmla="*/ 12250 w 15155"/>
                <a:gd name="T65" fmla="*/ 3787 h 4678"/>
                <a:gd name="T66" fmla="*/ 8758 w 15155"/>
                <a:gd name="T67" fmla="*/ 1080 h 4678"/>
                <a:gd name="T68" fmla="*/ 8559 w 15155"/>
                <a:gd name="T69" fmla="*/ 1013 h 4678"/>
                <a:gd name="T70" fmla="*/ 9105 w 15155"/>
                <a:gd name="T71" fmla="*/ 2310 h 4678"/>
                <a:gd name="T72" fmla="*/ 9553 w 15155"/>
                <a:gd name="T73" fmla="*/ 626 h 4678"/>
                <a:gd name="T74" fmla="*/ 9293 w 15155"/>
                <a:gd name="T75" fmla="*/ 713 h 4678"/>
                <a:gd name="T76" fmla="*/ 8947 w 15155"/>
                <a:gd name="T77" fmla="*/ 843 h 4678"/>
                <a:gd name="T78" fmla="*/ 5105 w 15155"/>
                <a:gd name="T79" fmla="*/ 349 h 4678"/>
                <a:gd name="T80" fmla="*/ 3793 w 15155"/>
                <a:gd name="T81" fmla="*/ 882 h 4678"/>
                <a:gd name="T82" fmla="*/ 5848 w 15155"/>
                <a:gd name="T83" fmla="*/ 981 h 4678"/>
                <a:gd name="T84" fmla="*/ 6211 w 15155"/>
                <a:gd name="T85" fmla="*/ 1763 h 4678"/>
                <a:gd name="T86" fmla="*/ 6296 w 15155"/>
                <a:gd name="T87" fmla="*/ 601 h 4678"/>
                <a:gd name="T88" fmla="*/ 5638 w 15155"/>
                <a:gd name="T89" fmla="*/ 833 h 4678"/>
                <a:gd name="T90" fmla="*/ 4836 w 15155"/>
                <a:gd name="T91" fmla="*/ 625 h 4678"/>
                <a:gd name="T92" fmla="*/ 4778 w 15155"/>
                <a:gd name="T93" fmla="*/ 1676 h 4678"/>
                <a:gd name="T94" fmla="*/ 4692 w 15155"/>
                <a:gd name="T95" fmla="*/ 0 h 4678"/>
                <a:gd name="T96" fmla="*/ 3614 w 15155"/>
                <a:gd name="T97" fmla="*/ 221 h 4678"/>
                <a:gd name="T98" fmla="*/ 3236 w 15155"/>
                <a:gd name="T99" fmla="*/ 88 h 4678"/>
                <a:gd name="T100" fmla="*/ 3836 w 15155"/>
                <a:gd name="T101" fmla="*/ 1763 h 4678"/>
                <a:gd name="T102" fmla="*/ 7219 w 15155"/>
                <a:gd name="T103" fmla="*/ 683 h 4678"/>
                <a:gd name="T104" fmla="*/ 7226 w 15155"/>
                <a:gd name="T105" fmla="*/ 598 h 4678"/>
                <a:gd name="T106" fmla="*/ 6952 w 15155"/>
                <a:gd name="T107" fmla="*/ 1361 h 4678"/>
                <a:gd name="T108" fmla="*/ 7720 w 15155"/>
                <a:gd name="T109" fmla="*/ 1446 h 4678"/>
                <a:gd name="T110" fmla="*/ 3049 w 15155"/>
                <a:gd name="T111" fmla="*/ 753 h 4678"/>
                <a:gd name="T112" fmla="*/ 2703 w 15155"/>
                <a:gd name="T113" fmla="*/ 1584 h 4678"/>
                <a:gd name="T114" fmla="*/ 87 w 15155"/>
                <a:gd name="T115" fmla="*/ 88 h 4678"/>
                <a:gd name="T116" fmla="*/ 549 w 15155"/>
                <a:gd name="T117" fmla="*/ 1763 h 4678"/>
                <a:gd name="T118" fmla="*/ 1609 w 15155"/>
                <a:gd name="T119" fmla="*/ 259 h 4678"/>
                <a:gd name="T120" fmla="*/ 2069 w 15155"/>
                <a:gd name="T121" fmla="*/ 1676 h 4678"/>
                <a:gd name="T122" fmla="*/ 2070 w 15155"/>
                <a:gd name="T123" fmla="*/ 0 h 46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5155" h="4678">
                  <a:moveTo>
                    <a:pt x="4451" y="3751"/>
                  </a:moveTo>
                  <a:cubicBezTo>
                    <a:pt x="4549" y="3607"/>
                    <a:pt x="4604" y="3438"/>
                    <a:pt x="4609" y="3264"/>
                  </a:cubicBezTo>
                  <a:cubicBezTo>
                    <a:pt x="4611" y="3211"/>
                    <a:pt x="4732" y="3072"/>
                    <a:pt x="4766" y="3072"/>
                  </a:cubicBezTo>
                  <a:cubicBezTo>
                    <a:pt x="4834" y="3072"/>
                    <a:pt x="4834" y="3072"/>
                    <a:pt x="4834" y="3072"/>
                  </a:cubicBezTo>
                  <a:cubicBezTo>
                    <a:pt x="4834" y="2986"/>
                    <a:pt x="4834" y="2986"/>
                    <a:pt x="4834" y="2986"/>
                  </a:cubicBezTo>
                  <a:cubicBezTo>
                    <a:pt x="4209" y="2986"/>
                    <a:pt x="4209" y="2986"/>
                    <a:pt x="4209" y="2986"/>
                  </a:cubicBezTo>
                  <a:cubicBezTo>
                    <a:pt x="4209" y="3073"/>
                    <a:pt x="4209" y="3073"/>
                    <a:pt x="4209" y="3073"/>
                  </a:cubicBezTo>
                  <a:cubicBezTo>
                    <a:pt x="4380" y="3078"/>
                    <a:pt x="4487" y="3175"/>
                    <a:pt x="4487" y="3337"/>
                  </a:cubicBezTo>
                  <a:cubicBezTo>
                    <a:pt x="4487" y="3482"/>
                    <a:pt x="4463" y="3591"/>
                    <a:pt x="4395" y="3702"/>
                  </a:cubicBezTo>
                  <a:cubicBezTo>
                    <a:pt x="4155" y="3489"/>
                    <a:pt x="3882" y="3230"/>
                    <a:pt x="3654" y="2986"/>
                  </a:cubicBezTo>
                  <a:cubicBezTo>
                    <a:pt x="3501" y="2928"/>
                    <a:pt x="3404" y="2814"/>
                    <a:pt x="3404" y="2673"/>
                  </a:cubicBezTo>
                  <a:cubicBezTo>
                    <a:pt x="3404" y="2514"/>
                    <a:pt x="3518" y="2422"/>
                    <a:pt x="3707" y="2422"/>
                  </a:cubicBezTo>
                  <a:cubicBezTo>
                    <a:pt x="3942" y="2422"/>
                    <a:pt x="4116" y="2659"/>
                    <a:pt x="4116" y="2777"/>
                  </a:cubicBezTo>
                  <a:cubicBezTo>
                    <a:pt x="4191" y="2777"/>
                    <a:pt x="4191" y="2777"/>
                    <a:pt x="4191" y="2777"/>
                  </a:cubicBezTo>
                  <a:cubicBezTo>
                    <a:pt x="4191" y="2362"/>
                    <a:pt x="4191" y="2362"/>
                    <a:pt x="4191" y="2362"/>
                  </a:cubicBezTo>
                  <a:cubicBezTo>
                    <a:pt x="4116" y="2362"/>
                    <a:pt x="4116" y="2362"/>
                    <a:pt x="4116" y="2362"/>
                  </a:cubicBezTo>
                  <a:cubicBezTo>
                    <a:pt x="4097" y="2391"/>
                    <a:pt x="4074" y="2393"/>
                    <a:pt x="4034" y="2393"/>
                  </a:cubicBezTo>
                  <a:cubicBezTo>
                    <a:pt x="3959" y="2393"/>
                    <a:pt x="3874" y="2340"/>
                    <a:pt x="3712" y="2340"/>
                  </a:cubicBezTo>
                  <a:cubicBezTo>
                    <a:pt x="3453" y="2340"/>
                    <a:pt x="3288" y="2480"/>
                    <a:pt x="3288" y="2732"/>
                  </a:cubicBezTo>
                  <a:cubicBezTo>
                    <a:pt x="3288" y="2887"/>
                    <a:pt x="3346" y="2991"/>
                    <a:pt x="3431" y="3100"/>
                  </a:cubicBezTo>
                  <a:cubicBezTo>
                    <a:pt x="3253" y="3219"/>
                    <a:pt x="3146" y="3420"/>
                    <a:pt x="3148" y="3634"/>
                  </a:cubicBezTo>
                  <a:cubicBezTo>
                    <a:pt x="3148" y="3944"/>
                    <a:pt x="3421" y="4155"/>
                    <a:pt x="3707" y="4155"/>
                  </a:cubicBezTo>
                  <a:cubicBezTo>
                    <a:pt x="3966" y="4155"/>
                    <a:pt x="4145" y="4080"/>
                    <a:pt x="4286" y="3944"/>
                  </a:cubicBezTo>
                  <a:cubicBezTo>
                    <a:pt x="4431" y="4078"/>
                    <a:pt x="4552" y="4124"/>
                    <a:pt x="4724" y="4124"/>
                  </a:cubicBezTo>
                  <a:cubicBezTo>
                    <a:pt x="4913" y="4124"/>
                    <a:pt x="4913" y="4124"/>
                    <a:pt x="4913" y="4124"/>
                  </a:cubicBezTo>
                  <a:cubicBezTo>
                    <a:pt x="4913" y="4036"/>
                    <a:pt x="4913" y="4036"/>
                    <a:pt x="4913" y="4036"/>
                  </a:cubicBezTo>
                  <a:cubicBezTo>
                    <a:pt x="4809" y="4036"/>
                    <a:pt x="4809" y="4036"/>
                    <a:pt x="4809" y="4036"/>
                  </a:cubicBezTo>
                  <a:cubicBezTo>
                    <a:pt x="4685" y="3947"/>
                    <a:pt x="4565" y="3852"/>
                    <a:pt x="4451" y="3751"/>
                  </a:cubicBezTo>
                  <a:close/>
                  <a:moveTo>
                    <a:pt x="3851" y="4015"/>
                  </a:moveTo>
                  <a:cubicBezTo>
                    <a:pt x="3599" y="4015"/>
                    <a:pt x="3330" y="3772"/>
                    <a:pt x="3330" y="3521"/>
                  </a:cubicBezTo>
                  <a:cubicBezTo>
                    <a:pt x="3330" y="3339"/>
                    <a:pt x="3378" y="3243"/>
                    <a:pt x="3470" y="3148"/>
                  </a:cubicBezTo>
                  <a:cubicBezTo>
                    <a:pt x="3707" y="3414"/>
                    <a:pt x="3962" y="3664"/>
                    <a:pt x="4233" y="3896"/>
                  </a:cubicBezTo>
                  <a:cubicBezTo>
                    <a:pt x="4134" y="3971"/>
                    <a:pt x="4008" y="4015"/>
                    <a:pt x="3851" y="4015"/>
                  </a:cubicBezTo>
                  <a:close/>
                  <a:moveTo>
                    <a:pt x="6279" y="4007"/>
                  </a:moveTo>
                  <a:cubicBezTo>
                    <a:pt x="5920" y="4007"/>
                    <a:pt x="5707" y="3758"/>
                    <a:pt x="5678" y="3450"/>
                  </a:cubicBezTo>
                  <a:cubicBezTo>
                    <a:pt x="5664" y="3301"/>
                    <a:pt x="5663" y="3151"/>
                    <a:pt x="5673" y="3002"/>
                  </a:cubicBezTo>
                  <a:cubicBezTo>
                    <a:pt x="5705" y="2605"/>
                    <a:pt x="5887" y="2435"/>
                    <a:pt x="6192" y="2435"/>
                  </a:cubicBezTo>
                  <a:cubicBezTo>
                    <a:pt x="6523" y="2435"/>
                    <a:pt x="6726" y="2803"/>
                    <a:pt x="6726" y="2985"/>
                  </a:cubicBezTo>
                  <a:cubicBezTo>
                    <a:pt x="6801" y="2985"/>
                    <a:pt x="6801" y="2985"/>
                    <a:pt x="6801" y="2985"/>
                  </a:cubicBezTo>
                  <a:cubicBezTo>
                    <a:pt x="6801" y="2362"/>
                    <a:pt x="6801" y="2362"/>
                    <a:pt x="6801" y="2362"/>
                  </a:cubicBezTo>
                  <a:cubicBezTo>
                    <a:pt x="6736" y="2362"/>
                    <a:pt x="6736" y="2362"/>
                    <a:pt x="6736" y="2362"/>
                  </a:cubicBezTo>
                  <a:cubicBezTo>
                    <a:pt x="6709" y="2393"/>
                    <a:pt x="6683" y="2408"/>
                    <a:pt x="6627" y="2408"/>
                  </a:cubicBezTo>
                  <a:cubicBezTo>
                    <a:pt x="6489" y="2408"/>
                    <a:pt x="6370" y="2330"/>
                    <a:pt x="6181" y="2330"/>
                  </a:cubicBezTo>
                  <a:cubicBezTo>
                    <a:pt x="5687" y="2330"/>
                    <a:pt x="5392" y="2732"/>
                    <a:pt x="5392" y="3236"/>
                  </a:cubicBezTo>
                  <a:cubicBezTo>
                    <a:pt x="5392" y="3740"/>
                    <a:pt x="5719" y="4156"/>
                    <a:pt x="6225" y="4156"/>
                  </a:cubicBezTo>
                  <a:cubicBezTo>
                    <a:pt x="6577" y="4156"/>
                    <a:pt x="6824" y="3967"/>
                    <a:pt x="6937" y="3652"/>
                  </a:cubicBezTo>
                  <a:cubicBezTo>
                    <a:pt x="6845" y="3652"/>
                    <a:pt x="6845" y="3652"/>
                    <a:pt x="6845" y="3652"/>
                  </a:cubicBezTo>
                  <a:cubicBezTo>
                    <a:pt x="6731" y="3884"/>
                    <a:pt x="6583" y="4007"/>
                    <a:pt x="6279" y="4007"/>
                  </a:cubicBezTo>
                  <a:close/>
                  <a:moveTo>
                    <a:pt x="11018" y="2957"/>
                  </a:moveTo>
                  <a:cubicBezTo>
                    <a:pt x="10830" y="2957"/>
                    <a:pt x="10704" y="3037"/>
                    <a:pt x="10605" y="3221"/>
                  </a:cubicBezTo>
                  <a:cubicBezTo>
                    <a:pt x="10566" y="2986"/>
                    <a:pt x="10566" y="2986"/>
                    <a:pt x="10566" y="2986"/>
                  </a:cubicBezTo>
                  <a:cubicBezTo>
                    <a:pt x="10195" y="2986"/>
                    <a:pt x="10195" y="2986"/>
                    <a:pt x="10195" y="2986"/>
                  </a:cubicBezTo>
                  <a:cubicBezTo>
                    <a:pt x="10195" y="3073"/>
                    <a:pt x="10195" y="3073"/>
                    <a:pt x="10195" y="3073"/>
                  </a:cubicBezTo>
                  <a:cubicBezTo>
                    <a:pt x="10270" y="3073"/>
                    <a:pt x="10270" y="3073"/>
                    <a:pt x="10270" y="3073"/>
                  </a:cubicBezTo>
                  <a:cubicBezTo>
                    <a:pt x="10304" y="3073"/>
                    <a:pt x="10391" y="3158"/>
                    <a:pt x="10391" y="3194"/>
                  </a:cubicBezTo>
                  <a:cubicBezTo>
                    <a:pt x="10391" y="4470"/>
                    <a:pt x="10391" y="4470"/>
                    <a:pt x="10391" y="4470"/>
                  </a:cubicBezTo>
                  <a:cubicBezTo>
                    <a:pt x="10391" y="4508"/>
                    <a:pt x="10304" y="4591"/>
                    <a:pt x="10270" y="4591"/>
                  </a:cubicBezTo>
                  <a:cubicBezTo>
                    <a:pt x="10195" y="4591"/>
                    <a:pt x="10195" y="4591"/>
                    <a:pt x="10195" y="4591"/>
                  </a:cubicBezTo>
                  <a:cubicBezTo>
                    <a:pt x="10195" y="4678"/>
                    <a:pt x="10195" y="4678"/>
                    <a:pt x="10195" y="4678"/>
                  </a:cubicBezTo>
                  <a:cubicBezTo>
                    <a:pt x="10801" y="4678"/>
                    <a:pt x="10801" y="4678"/>
                    <a:pt x="10801" y="4678"/>
                  </a:cubicBezTo>
                  <a:cubicBezTo>
                    <a:pt x="10801" y="4591"/>
                    <a:pt x="10801" y="4591"/>
                    <a:pt x="10801" y="4591"/>
                  </a:cubicBezTo>
                  <a:cubicBezTo>
                    <a:pt x="10726" y="4591"/>
                    <a:pt x="10726" y="4591"/>
                    <a:pt x="10726" y="4591"/>
                  </a:cubicBezTo>
                  <a:cubicBezTo>
                    <a:pt x="10694" y="4591"/>
                    <a:pt x="10605" y="4508"/>
                    <a:pt x="10605" y="4470"/>
                  </a:cubicBezTo>
                  <a:cubicBezTo>
                    <a:pt x="10605" y="3922"/>
                    <a:pt x="10605" y="3922"/>
                    <a:pt x="10605" y="3922"/>
                  </a:cubicBezTo>
                  <a:cubicBezTo>
                    <a:pt x="10687" y="4070"/>
                    <a:pt x="10793" y="4147"/>
                    <a:pt x="10994" y="4147"/>
                  </a:cubicBezTo>
                  <a:cubicBezTo>
                    <a:pt x="11272" y="4147"/>
                    <a:pt x="11466" y="3888"/>
                    <a:pt x="11466" y="3537"/>
                  </a:cubicBezTo>
                  <a:cubicBezTo>
                    <a:pt x="11466" y="3186"/>
                    <a:pt x="11297" y="2957"/>
                    <a:pt x="11018" y="2957"/>
                  </a:cubicBezTo>
                  <a:close/>
                  <a:moveTo>
                    <a:pt x="11246" y="3722"/>
                  </a:moveTo>
                  <a:cubicBezTo>
                    <a:pt x="11222" y="3903"/>
                    <a:pt x="11130" y="4027"/>
                    <a:pt x="10934" y="4027"/>
                  </a:cubicBezTo>
                  <a:cubicBezTo>
                    <a:pt x="10753" y="4029"/>
                    <a:pt x="10604" y="3884"/>
                    <a:pt x="10602" y="3703"/>
                  </a:cubicBezTo>
                  <a:cubicBezTo>
                    <a:pt x="10602" y="3701"/>
                    <a:pt x="10602" y="3698"/>
                    <a:pt x="10602" y="3695"/>
                  </a:cubicBezTo>
                  <a:cubicBezTo>
                    <a:pt x="10602" y="3405"/>
                    <a:pt x="10602" y="3405"/>
                    <a:pt x="10602" y="3405"/>
                  </a:cubicBezTo>
                  <a:cubicBezTo>
                    <a:pt x="10658" y="3225"/>
                    <a:pt x="10767" y="3092"/>
                    <a:pt x="10961" y="3092"/>
                  </a:cubicBezTo>
                  <a:cubicBezTo>
                    <a:pt x="11125" y="3092"/>
                    <a:pt x="11224" y="3208"/>
                    <a:pt x="11249" y="3390"/>
                  </a:cubicBezTo>
                  <a:cubicBezTo>
                    <a:pt x="11262" y="3500"/>
                    <a:pt x="11261" y="3612"/>
                    <a:pt x="11246" y="3722"/>
                  </a:cubicBezTo>
                  <a:close/>
                  <a:moveTo>
                    <a:pt x="14693" y="2986"/>
                  </a:moveTo>
                  <a:cubicBezTo>
                    <a:pt x="14693" y="3073"/>
                    <a:pt x="14693" y="3073"/>
                    <a:pt x="14693" y="3073"/>
                  </a:cubicBezTo>
                  <a:cubicBezTo>
                    <a:pt x="14762" y="3073"/>
                    <a:pt x="14762" y="3073"/>
                    <a:pt x="14762" y="3073"/>
                  </a:cubicBezTo>
                  <a:cubicBezTo>
                    <a:pt x="14794" y="3073"/>
                    <a:pt x="14864" y="3153"/>
                    <a:pt x="14862" y="3199"/>
                  </a:cubicBezTo>
                  <a:cubicBezTo>
                    <a:pt x="14610" y="3758"/>
                    <a:pt x="14610" y="3758"/>
                    <a:pt x="14610" y="3758"/>
                  </a:cubicBezTo>
                  <a:cubicBezTo>
                    <a:pt x="14335" y="3196"/>
                    <a:pt x="14335" y="3196"/>
                    <a:pt x="14335" y="3196"/>
                  </a:cubicBezTo>
                  <a:cubicBezTo>
                    <a:pt x="14335" y="3154"/>
                    <a:pt x="14403" y="3073"/>
                    <a:pt x="14434" y="3073"/>
                  </a:cubicBezTo>
                  <a:cubicBezTo>
                    <a:pt x="14505" y="3073"/>
                    <a:pt x="14505" y="3073"/>
                    <a:pt x="14505" y="3073"/>
                  </a:cubicBezTo>
                  <a:cubicBezTo>
                    <a:pt x="14505" y="2986"/>
                    <a:pt x="14505" y="2986"/>
                    <a:pt x="14505" y="2986"/>
                  </a:cubicBezTo>
                  <a:cubicBezTo>
                    <a:pt x="13889" y="2986"/>
                    <a:pt x="13889" y="2986"/>
                    <a:pt x="13889" y="2986"/>
                  </a:cubicBezTo>
                  <a:cubicBezTo>
                    <a:pt x="13889" y="3073"/>
                    <a:pt x="13889" y="3073"/>
                    <a:pt x="13889" y="3073"/>
                  </a:cubicBezTo>
                  <a:cubicBezTo>
                    <a:pt x="13940" y="3073"/>
                    <a:pt x="13940" y="3073"/>
                    <a:pt x="13940" y="3073"/>
                  </a:cubicBezTo>
                  <a:cubicBezTo>
                    <a:pt x="13969" y="3073"/>
                    <a:pt x="14068" y="3167"/>
                    <a:pt x="14087" y="3204"/>
                  </a:cubicBezTo>
                  <a:cubicBezTo>
                    <a:pt x="14489" y="3995"/>
                    <a:pt x="14489" y="3995"/>
                    <a:pt x="14489" y="3995"/>
                  </a:cubicBezTo>
                  <a:cubicBezTo>
                    <a:pt x="14145" y="4620"/>
                    <a:pt x="14145" y="4620"/>
                    <a:pt x="14145" y="4620"/>
                  </a:cubicBezTo>
                  <a:cubicBezTo>
                    <a:pt x="14245" y="4671"/>
                    <a:pt x="14245" y="4671"/>
                    <a:pt x="14245" y="4671"/>
                  </a:cubicBezTo>
                  <a:cubicBezTo>
                    <a:pt x="14584" y="4030"/>
                    <a:pt x="14584" y="4030"/>
                    <a:pt x="14584" y="4030"/>
                  </a:cubicBezTo>
                  <a:cubicBezTo>
                    <a:pt x="14968" y="3199"/>
                    <a:pt x="14968" y="3199"/>
                    <a:pt x="14968" y="3199"/>
                  </a:cubicBezTo>
                  <a:cubicBezTo>
                    <a:pt x="14993" y="3161"/>
                    <a:pt x="15075" y="3073"/>
                    <a:pt x="15102" y="3073"/>
                  </a:cubicBezTo>
                  <a:cubicBezTo>
                    <a:pt x="15155" y="3073"/>
                    <a:pt x="15155" y="3073"/>
                    <a:pt x="15155" y="3073"/>
                  </a:cubicBezTo>
                  <a:cubicBezTo>
                    <a:pt x="15155" y="2986"/>
                    <a:pt x="15155" y="2986"/>
                    <a:pt x="15155" y="2986"/>
                  </a:cubicBezTo>
                  <a:lnTo>
                    <a:pt x="14693" y="2986"/>
                  </a:lnTo>
                  <a:close/>
                  <a:moveTo>
                    <a:pt x="9712" y="4037"/>
                  </a:moveTo>
                  <a:cubicBezTo>
                    <a:pt x="9647" y="4037"/>
                    <a:pt x="9647" y="4037"/>
                    <a:pt x="9647" y="4037"/>
                  </a:cubicBezTo>
                  <a:cubicBezTo>
                    <a:pt x="9647" y="4124"/>
                    <a:pt x="9647" y="4124"/>
                    <a:pt x="9647" y="4124"/>
                  </a:cubicBezTo>
                  <a:cubicBezTo>
                    <a:pt x="10231" y="4124"/>
                    <a:pt x="10231" y="4124"/>
                    <a:pt x="10231" y="4124"/>
                  </a:cubicBezTo>
                  <a:cubicBezTo>
                    <a:pt x="10231" y="4037"/>
                    <a:pt x="10231" y="4037"/>
                    <a:pt x="10231" y="4037"/>
                  </a:cubicBezTo>
                  <a:cubicBezTo>
                    <a:pt x="10165" y="4037"/>
                    <a:pt x="10165" y="4037"/>
                    <a:pt x="10165" y="4037"/>
                  </a:cubicBezTo>
                  <a:cubicBezTo>
                    <a:pt x="10131" y="4037"/>
                    <a:pt x="10044" y="3954"/>
                    <a:pt x="10044" y="3916"/>
                  </a:cubicBezTo>
                  <a:cubicBezTo>
                    <a:pt x="10044" y="3288"/>
                    <a:pt x="10044" y="3288"/>
                    <a:pt x="10044" y="3288"/>
                  </a:cubicBezTo>
                  <a:cubicBezTo>
                    <a:pt x="10044" y="3080"/>
                    <a:pt x="9904" y="2964"/>
                    <a:pt x="9732" y="2964"/>
                  </a:cubicBezTo>
                  <a:cubicBezTo>
                    <a:pt x="9538" y="2964"/>
                    <a:pt x="9448" y="3066"/>
                    <a:pt x="9308" y="3204"/>
                  </a:cubicBezTo>
                  <a:cubicBezTo>
                    <a:pt x="9287" y="3044"/>
                    <a:pt x="9158" y="2961"/>
                    <a:pt x="9005" y="2961"/>
                  </a:cubicBezTo>
                  <a:cubicBezTo>
                    <a:pt x="8804" y="2961"/>
                    <a:pt x="8720" y="3068"/>
                    <a:pt x="8589" y="3206"/>
                  </a:cubicBezTo>
                  <a:cubicBezTo>
                    <a:pt x="8544" y="2986"/>
                    <a:pt x="8544" y="2986"/>
                    <a:pt x="8544" y="2986"/>
                  </a:cubicBezTo>
                  <a:cubicBezTo>
                    <a:pt x="8192" y="2986"/>
                    <a:pt x="8192" y="2986"/>
                    <a:pt x="8192" y="2986"/>
                  </a:cubicBezTo>
                  <a:cubicBezTo>
                    <a:pt x="8192" y="3073"/>
                    <a:pt x="8192" y="3073"/>
                    <a:pt x="8192" y="3073"/>
                  </a:cubicBezTo>
                  <a:cubicBezTo>
                    <a:pt x="8257" y="3073"/>
                    <a:pt x="8257" y="3073"/>
                    <a:pt x="8257" y="3073"/>
                  </a:cubicBezTo>
                  <a:cubicBezTo>
                    <a:pt x="8291" y="3073"/>
                    <a:pt x="8378" y="3158"/>
                    <a:pt x="8378" y="3194"/>
                  </a:cubicBezTo>
                  <a:cubicBezTo>
                    <a:pt x="8378" y="3916"/>
                    <a:pt x="8378" y="3916"/>
                    <a:pt x="8378" y="3916"/>
                  </a:cubicBezTo>
                  <a:cubicBezTo>
                    <a:pt x="8378" y="3954"/>
                    <a:pt x="8291" y="4037"/>
                    <a:pt x="8257" y="4037"/>
                  </a:cubicBezTo>
                  <a:cubicBezTo>
                    <a:pt x="8192" y="4037"/>
                    <a:pt x="8192" y="4037"/>
                    <a:pt x="8192" y="4037"/>
                  </a:cubicBezTo>
                  <a:cubicBezTo>
                    <a:pt x="8192" y="4124"/>
                    <a:pt x="8192" y="4124"/>
                    <a:pt x="8192" y="4124"/>
                  </a:cubicBezTo>
                  <a:cubicBezTo>
                    <a:pt x="8775" y="4124"/>
                    <a:pt x="8775" y="4124"/>
                    <a:pt x="8775" y="4124"/>
                  </a:cubicBezTo>
                  <a:cubicBezTo>
                    <a:pt x="8775" y="4037"/>
                    <a:pt x="8775" y="4037"/>
                    <a:pt x="8775" y="4037"/>
                  </a:cubicBezTo>
                  <a:cubicBezTo>
                    <a:pt x="8710" y="4037"/>
                    <a:pt x="8710" y="4037"/>
                    <a:pt x="8710" y="4037"/>
                  </a:cubicBezTo>
                  <a:cubicBezTo>
                    <a:pt x="8676" y="4037"/>
                    <a:pt x="8589" y="3954"/>
                    <a:pt x="8589" y="3916"/>
                  </a:cubicBezTo>
                  <a:cubicBezTo>
                    <a:pt x="8589" y="3330"/>
                    <a:pt x="8589" y="3330"/>
                    <a:pt x="8589" y="3330"/>
                  </a:cubicBezTo>
                  <a:cubicBezTo>
                    <a:pt x="8589" y="3252"/>
                    <a:pt x="8775" y="3099"/>
                    <a:pt x="8925" y="3099"/>
                  </a:cubicBezTo>
                  <a:cubicBezTo>
                    <a:pt x="9049" y="3099"/>
                    <a:pt x="9107" y="3177"/>
                    <a:pt x="9107" y="3288"/>
                  </a:cubicBezTo>
                  <a:cubicBezTo>
                    <a:pt x="9107" y="3916"/>
                    <a:pt x="9107" y="3916"/>
                    <a:pt x="9107" y="3916"/>
                  </a:cubicBezTo>
                  <a:cubicBezTo>
                    <a:pt x="9107" y="3954"/>
                    <a:pt x="9020" y="4037"/>
                    <a:pt x="8986" y="4037"/>
                  </a:cubicBezTo>
                  <a:cubicBezTo>
                    <a:pt x="8921" y="4037"/>
                    <a:pt x="8921" y="4037"/>
                    <a:pt x="8921" y="4037"/>
                  </a:cubicBezTo>
                  <a:cubicBezTo>
                    <a:pt x="8921" y="4124"/>
                    <a:pt x="8921" y="4124"/>
                    <a:pt x="8921" y="4124"/>
                  </a:cubicBezTo>
                  <a:cubicBezTo>
                    <a:pt x="9504" y="4124"/>
                    <a:pt x="9504" y="4124"/>
                    <a:pt x="9504" y="4124"/>
                  </a:cubicBezTo>
                  <a:cubicBezTo>
                    <a:pt x="9504" y="4037"/>
                    <a:pt x="9504" y="4037"/>
                    <a:pt x="9504" y="4037"/>
                  </a:cubicBezTo>
                  <a:cubicBezTo>
                    <a:pt x="9439" y="4037"/>
                    <a:pt x="9439" y="4037"/>
                    <a:pt x="9439" y="4037"/>
                  </a:cubicBezTo>
                  <a:cubicBezTo>
                    <a:pt x="9405" y="4037"/>
                    <a:pt x="9318" y="3954"/>
                    <a:pt x="9318" y="3916"/>
                  </a:cubicBezTo>
                  <a:cubicBezTo>
                    <a:pt x="9318" y="3323"/>
                    <a:pt x="9318" y="3323"/>
                    <a:pt x="9318" y="3323"/>
                  </a:cubicBezTo>
                  <a:cubicBezTo>
                    <a:pt x="9318" y="3246"/>
                    <a:pt x="9504" y="3101"/>
                    <a:pt x="9654" y="3101"/>
                  </a:cubicBezTo>
                  <a:cubicBezTo>
                    <a:pt x="9778" y="3101"/>
                    <a:pt x="9833" y="3178"/>
                    <a:pt x="9833" y="3289"/>
                  </a:cubicBezTo>
                  <a:cubicBezTo>
                    <a:pt x="9833" y="3917"/>
                    <a:pt x="9833" y="3917"/>
                    <a:pt x="9833" y="3917"/>
                  </a:cubicBezTo>
                  <a:cubicBezTo>
                    <a:pt x="9833" y="3954"/>
                    <a:pt x="9746" y="4037"/>
                    <a:pt x="9712" y="4037"/>
                  </a:cubicBezTo>
                  <a:close/>
                  <a:moveTo>
                    <a:pt x="7623" y="2957"/>
                  </a:moveTo>
                  <a:cubicBezTo>
                    <a:pt x="7320" y="2957"/>
                    <a:pt x="7051" y="3184"/>
                    <a:pt x="7051" y="3555"/>
                  </a:cubicBezTo>
                  <a:cubicBezTo>
                    <a:pt x="7051" y="3926"/>
                    <a:pt x="7320" y="4156"/>
                    <a:pt x="7623" y="4156"/>
                  </a:cubicBezTo>
                  <a:cubicBezTo>
                    <a:pt x="7925" y="4156"/>
                    <a:pt x="8192" y="3926"/>
                    <a:pt x="8192" y="3555"/>
                  </a:cubicBezTo>
                  <a:cubicBezTo>
                    <a:pt x="8192" y="3185"/>
                    <a:pt x="7925" y="2957"/>
                    <a:pt x="7623" y="2957"/>
                  </a:cubicBezTo>
                  <a:close/>
                  <a:moveTo>
                    <a:pt x="7962" y="3741"/>
                  </a:moveTo>
                  <a:cubicBezTo>
                    <a:pt x="7940" y="3920"/>
                    <a:pt x="7841" y="4044"/>
                    <a:pt x="7625" y="4044"/>
                  </a:cubicBezTo>
                  <a:cubicBezTo>
                    <a:pt x="7415" y="4044"/>
                    <a:pt x="7315" y="3916"/>
                    <a:pt x="7289" y="3739"/>
                  </a:cubicBezTo>
                  <a:cubicBezTo>
                    <a:pt x="7272" y="3613"/>
                    <a:pt x="7272" y="3485"/>
                    <a:pt x="7289" y="3359"/>
                  </a:cubicBezTo>
                  <a:cubicBezTo>
                    <a:pt x="7315" y="3177"/>
                    <a:pt x="7420" y="3056"/>
                    <a:pt x="7625" y="3056"/>
                  </a:cubicBezTo>
                  <a:cubicBezTo>
                    <a:pt x="7839" y="3056"/>
                    <a:pt x="7940" y="3177"/>
                    <a:pt x="7962" y="3361"/>
                  </a:cubicBezTo>
                  <a:cubicBezTo>
                    <a:pt x="7976" y="3487"/>
                    <a:pt x="7976" y="3615"/>
                    <a:pt x="7962" y="3741"/>
                  </a:cubicBezTo>
                  <a:close/>
                  <a:moveTo>
                    <a:pt x="13826" y="3916"/>
                  </a:moveTo>
                  <a:cubicBezTo>
                    <a:pt x="13826" y="3288"/>
                    <a:pt x="13826" y="3288"/>
                    <a:pt x="13826" y="3288"/>
                  </a:cubicBezTo>
                  <a:cubicBezTo>
                    <a:pt x="13826" y="3092"/>
                    <a:pt x="13685" y="2961"/>
                    <a:pt x="13509" y="2961"/>
                  </a:cubicBezTo>
                  <a:cubicBezTo>
                    <a:pt x="13303" y="2961"/>
                    <a:pt x="13196" y="3080"/>
                    <a:pt x="13058" y="3221"/>
                  </a:cubicBezTo>
                  <a:cubicBezTo>
                    <a:pt x="13016" y="2986"/>
                    <a:pt x="13016" y="2986"/>
                    <a:pt x="13016" y="2986"/>
                  </a:cubicBezTo>
                  <a:cubicBezTo>
                    <a:pt x="12654" y="2986"/>
                    <a:pt x="12654" y="2986"/>
                    <a:pt x="12654" y="2986"/>
                  </a:cubicBezTo>
                  <a:cubicBezTo>
                    <a:pt x="12654" y="3073"/>
                    <a:pt x="12654" y="3073"/>
                    <a:pt x="12654" y="3073"/>
                  </a:cubicBezTo>
                  <a:cubicBezTo>
                    <a:pt x="12724" y="3073"/>
                    <a:pt x="12724" y="3073"/>
                    <a:pt x="12724" y="3073"/>
                  </a:cubicBezTo>
                  <a:cubicBezTo>
                    <a:pt x="12758" y="3073"/>
                    <a:pt x="12850" y="3158"/>
                    <a:pt x="12850" y="3194"/>
                  </a:cubicBezTo>
                  <a:cubicBezTo>
                    <a:pt x="12850" y="3915"/>
                    <a:pt x="12850" y="3915"/>
                    <a:pt x="12850" y="3915"/>
                  </a:cubicBezTo>
                  <a:cubicBezTo>
                    <a:pt x="12850" y="3954"/>
                    <a:pt x="12758" y="4036"/>
                    <a:pt x="12724" y="4036"/>
                  </a:cubicBezTo>
                  <a:cubicBezTo>
                    <a:pt x="12586" y="4036"/>
                    <a:pt x="12586" y="4036"/>
                    <a:pt x="12586" y="4036"/>
                  </a:cubicBezTo>
                  <a:cubicBezTo>
                    <a:pt x="12555" y="4036"/>
                    <a:pt x="12460" y="3954"/>
                    <a:pt x="12460" y="3915"/>
                  </a:cubicBezTo>
                  <a:cubicBezTo>
                    <a:pt x="12460" y="3302"/>
                    <a:pt x="12460" y="3302"/>
                    <a:pt x="12460" y="3302"/>
                  </a:cubicBezTo>
                  <a:cubicBezTo>
                    <a:pt x="12460" y="3077"/>
                    <a:pt x="12267" y="2956"/>
                    <a:pt x="12020" y="2956"/>
                  </a:cubicBezTo>
                  <a:cubicBezTo>
                    <a:pt x="11787" y="2956"/>
                    <a:pt x="11639" y="3041"/>
                    <a:pt x="11545" y="3138"/>
                  </a:cubicBezTo>
                  <a:cubicBezTo>
                    <a:pt x="11698" y="3367"/>
                    <a:pt x="11698" y="3367"/>
                    <a:pt x="11698" y="3367"/>
                  </a:cubicBezTo>
                  <a:cubicBezTo>
                    <a:pt x="11780" y="3367"/>
                    <a:pt x="11780" y="3367"/>
                    <a:pt x="11780" y="3367"/>
                  </a:cubicBezTo>
                  <a:cubicBezTo>
                    <a:pt x="11695" y="3171"/>
                    <a:pt x="11773" y="3041"/>
                    <a:pt x="11969" y="3041"/>
                  </a:cubicBezTo>
                  <a:cubicBezTo>
                    <a:pt x="12175" y="3041"/>
                    <a:pt x="12252" y="3138"/>
                    <a:pt x="12250" y="3300"/>
                  </a:cubicBezTo>
                  <a:cubicBezTo>
                    <a:pt x="12247" y="3435"/>
                    <a:pt x="12247" y="3435"/>
                    <a:pt x="12247" y="3435"/>
                  </a:cubicBezTo>
                  <a:cubicBezTo>
                    <a:pt x="11952" y="3496"/>
                    <a:pt x="11952" y="3496"/>
                    <a:pt x="11952" y="3496"/>
                  </a:cubicBezTo>
                  <a:cubicBezTo>
                    <a:pt x="11790" y="3531"/>
                    <a:pt x="11578" y="3608"/>
                    <a:pt x="11578" y="3836"/>
                  </a:cubicBezTo>
                  <a:cubicBezTo>
                    <a:pt x="11578" y="4023"/>
                    <a:pt x="11714" y="4146"/>
                    <a:pt x="11871" y="4146"/>
                  </a:cubicBezTo>
                  <a:cubicBezTo>
                    <a:pt x="12041" y="4146"/>
                    <a:pt x="12162" y="4008"/>
                    <a:pt x="12254" y="3890"/>
                  </a:cubicBezTo>
                  <a:cubicBezTo>
                    <a:pt x="12283" y="4125"/>
                    <a:pt x="12283" y="4125"/>
                    <a:pt x="12283" y="4125"/>
                  </a:cubicBezTo>
                  <a:cubicBezTo>
                    <a:pt x="13251" y="4125"/>
                    <a:pt x="13251" y="4125"/>
                    <a:pt x="13251" y="4125"/>
                  </a:cubicBezTo>
                  <a:cubicBezTo>
                    <a:pt x="13251" y="4038"/>
                    <a:pt x="13251" y="4038"/>
                    <a:pt x="13251" y="4038"/>
                  </a:cubicBezTo>
                  <a:cubicBezTo>
                    <a:pt x="13186" y="4038"/>
                    <a:pt x="13186" y="4038"/>
                    <a:pt x="13186" y="4038"/>
                  </a:cubicBezTo>
                  <a:cubicBezTo>
                    <a:pt x="13152" y="4038"/>
                    <a:pt x="13060" y="3955"/>
                    <a:pt x="13060" y="3917"/>
                  </a:cubicBezTo>
                  <a:cubicBezTo>
                    <a:pt x="13060" y="3342"/>
                    <a:pt x="13060" y="3342"/>
                    <a:pt x="13060" y="3342"/>
                  </a:cubicBezTo>
                  <a:cubicBezTo>
                    <a:pt x="13060" y="3264"/>
                    <a:pt x="13271" y="3104"/>
                    <a:pt x="13433" y="3104"/>
                  </a:cubicBezTo>
                  <a:cubicBezTo>
                    <a:pt x="13557" y="3104"/>
                    <a:pt x="13615" y="3190"/>
                    <a:pt x="13615" y="3301"/>
                  </a:cubicBezTo>
                  <a:cubicBezTo>
                    <a:pt x="13615" y="3916"/>
                    <a:pt x="13615" y="3916"/>
                    <a:pt x="13615" y="3916"/>
                  </a:cubicBezTo>
                  <a:cubicBezTo>
                    <a:pt x="13615" y="3954"/>
                    <a:pt x="13523" y="4037"/>
                    <a:pt x="13489" y="4037"/>
                  </a:cubicBezTo>
                  <a:cubicBezTo>
                    <a:pt x="13423" y="4037"/>
                    <a:pt x="13423" y="4037"/>
                    <a:pt x="13423" y="4037"/>
                  </a:cubicBezTo>
                  <a:cubicBezTo>
                    <a:pt x="13423" y="4124"/>
                    <a:pt x="13423" y="4124"/>
                    <a:pt x="13423" y="4124"/>
                  </a:cubicBezTo>
                  <a:cubicBezTo>
                    <a:pt x="14022" y="4124"/>
                    <a:pt x="14022" y="4124"/>
                    <a:pt x="14022" y="4124"/>
                  </a:cubicBezTo>
                  <a:cubicBezTo>
                    <a:pt x="14022" y="4037"/>
                    <a:pt x="14022" y="4037"/>
                    <a:pt x="14022" y="4037"/>
                  </a:cubicBezTo>
                  <a:cubicBezTo>
                    <a:pt x="13952" y="4037"/>
                    <a:pt x="13952" y="4037"/>
                    <a:pt x="13952" y="4037"/>
                  </a:cubicBezTo>
                  <a:cubicBezTo>
                    <a:pt x="13918" y="4037"/>
                    <a:pt x="13826" y="3954"/>
                    <a:pt x="13826" y="3916"/>
                  </a:cubicBezTo>
                  <a:close/>
                  <a:moveTo>
                    <a:pt x="12250" y="3787"/>
                  </a:moveTo>
                  <a:cubicBezTo>
                    <a:pt x="12201" y="3873"/>
                    <a:pt x="12080" y="3988"/>
                    <a:pt x="11969" y="3988"/>
                  </a:cubicBezTo>
                  <a:cubicBezTo>
                    <a:pt x="11872" y="3993"/>
                    <a:pt x="11789" y="3918"/>
                    <a:pt x="11785" y="3820"/>
                  </a:cubicBezTo>
                  <a:cubicBezTo>
                    <a:pt x="11785" y="3816"/>
                    <a:pt x="11785" y="3811"/>
                    <a:pt x="11785" y="3807"/>
                  </a:cubicBezTo>
                  <a:cubicBezTo>
                    <a:pt x="11785" y="3693"/>
                    <a:pt x="11833" y="3618"/>
                    <a:pt x="11977" y="3582"/>
                  </a:cubicBezTo>
                  <a:cubicBezTo>
                    <a:pt x="12251" y="3511"/>
                    <a:pt x="12251" y="3511"/>
                    <a:pt x="12251" y="3511"/>
                  </a:cubicBezTo>
                  <a:lnTo>
                    <a:pt x="12250" y="3787"/>
                  </a:lnTo>
                  <a:close/>
                  <a:moveTo>
                    <a:pt x="8336" y="1790"/>
                  </a:moveTo>
                  <a:cubicBezTo>
                    <a:pt x="8617" y="1790"/>
                    <a:pt x="8765" y="1637"/>
                    <a:pt x="8840" y="1388"/>
                  </a:cubicBezTo>
                  <a:cubicBezTo>
                    <a:pt x="8769" y="1388"/>
                    <a:pt x="8769" y="1388"/>
                    <a:pt x="8769" y="1388"/>
                  </a:cubicBezTo>
                  <a:cubicBezTo>
                    <a:pt x="8697" y="1519"/>
                    <a:pt x="8605" y="1584"/>
                    <a:pt x="8411" y="1584"/>
                  </a:cubicBezTo>
                  <a:cubicBezTo>
                    <a:pt x="8152" y="1584"/>
                    <a:pt x="8002" y="1349"/>
                    <a:pt x="7997" y="1141"/>
                  </a:cubicBezTo>
                  <a:cubicBezTo>
                    <a:pt x="8758" y="1080"/>
                    <a:pt x="8758" y="1080"/>
                    <a:pt x="8758" y="1080"/>
                  </a:cubicBezTo>
                  <a:cubicBezTo>
                    <a:pt x="8753" y="997"/>
                    <a:pt x="8753" y="997"/>
                    <a:pt x="8753" y="997"/>
                  </a:cubicBezTo>
                  <a:cubicBezTo>
                    <a:pt x="8740" y="774"/>
                    <a:pt x="8595" y="600"/>
                    <a:pt x="8336" y="598"/>
                  </a:cubicBezTo>
                  <a:cubicBezTo>
                    <a:pt x="8041" y="595"/>
                    <a:pt x="7811" y="857"/>
                    <a:pt x="7811" y="1196"/>
                  </a:cubicBezTo>
                  <a:cubicBezTo>
                    <a:pt x="7811" y="1519"/>
                    <a:pt x="8033" y="1790"/>
                    <a:pt x="8336" y="1790"/>
                  </a:cubicBezTo>
                  <a:close/>
                  <a:moveTo>
                    <a:pt x="8331" y="686"/>
                  </a:moveTo>
                  <a:cubicBezTo>
                    <a:pt x="8554" y="686"/>
                    <a:pt x="8578" y="850"/>
                    <a:pt x="8559" y="1013"/>
                  </a:cubicBezTo>
                  <a:cubicBezTo>
                    <a:pt x="7990" y="1061"/>
                    <a:pt x="7990" y="1061"/>
                    <a:pt x="7990" y="1061"/>
                  </a:cubicBezTo>
                  <a:cubicBezTo>
                    <a:pt x="7997" y="882"/>
                    <a:pt x="8094" y="686"/>
                    <a:pt x="8331" y="686"/>
                  </a:cubicBezTo>
                  <a:close/>
                  <a:moveTo>
                    <a:pt x="8947" y="843"/>
                  </a:moveTo>
                  <a:cubicBezTo>
                    <a:pt x="9349" y="1635"/>
                    <a:pt x="9349" y="1635"/>
                    <a:pt x="9349" y="1635"/>
                  </a:cubicBezTo>
                  <a:cubicBezTo>
                    <a:pt x="9005" y="2259"/>
                    <a:pt x="9005" y="2259"/>
                    <a:pt x="9005" y="2259"/>
                  </a:cubicBezTo>
                  <a:cubicBezTo>
                    <a:pt x="9105" y="2310"/>
                    <a:pt x="9105" y="2310"/>
                    <a:pt x="9105" y="2310"/>
                  </a:cubicBezTo>
                  <a:cubicBezTo>
                    <a:pt x="9444" y="1669"/>
                    <a:pt x="9444" y="1669"/>
                    <a:pt x="9444" y="1669"/>
                  </a:cubicBezTo>
                  <a:cubicBezTo>
                    <a:pt x="9828" y="839"/>
                    <a:pt x="9828" y="839"/>
                    <a:pt x="9828" y="839"/>
                  </a:cubicBezTo>
                  <a:cubicBezTo>
                    <a:pt x="9853" y="800"/>
                    <a:pt x="9935" y="713"/>
                    <a:pt x="9962" y="713"/>
                  </a:cubicBezTo>
                  <a:cubicBezTo>
                    <a:pt x="10015" y="713"/>
                    <a:pt x="10015" y="713"/>
                    <a:pt x="10015" y="713"/>
                  </a:cubicBezTo>
                  <a:cubicBezTo>
                    <a:pt x="10015" y="626"/>
                    <a:pt x="10015" y="626"/>
                    <a:pt x="10015" y="626"/>
                  </a:cubicBezTo>
                  <a:cubicBezTo>
                    <a:pt x="9553" y="626"/>
                    <a:pt x="9553" y="626"/>
                    <a:pt x="9553" y="626"/>
                  </a:cubicBezTo>
                  <a:cubicBezTo>
                    <a:pt x="9553" y="713"/>
                    <a:pt x="9553" y="713"/>
                    <a:pt x="9553" y="713"/>
                  </a:cubicBezTo>
                  <a:cubicBezTo>
                    <a:pt x="9623" y="713"/>
                    <a:pt x="9623" y="713"/>
                    <a:pt x="9623" y="713"/>
                  </a:cubicBezTo>
                  <a:cubicBezTo>
                    <a:pt x="9654" y="713"/>
                    <a:pt x="9725" y="793"/>
                    <a:pt x="9722" y="839"/>
                  </a:cubicBezTo>
                  <a:cubicBezTo>
                    <a:pt x="9470" y="1398"/>
                    <a:pt x="9470" y="1398"/>
                    <a:pt x="9470" y="1398"/>
                  </a:cubicBezTo>
                  <a:cubicBezTo>
                    <a:pt x="9194" y="836"/>
                    <a:pt x="9194" y="836"/>
                    <a:pt x="9194" y="836"/>
                  </a:cubicBezTo>
                  <a:cubicBezTo>
                    <a:pt x="9194" y="794"/>
                    <a:pt x="9262" y="713"/>
                    <a:pt x="9293" y="713"/>
                  </a:cubicBezTo>
                  <a:cubicBezTo>
                    <a:pt x="9364" y="713"/>
                    <a:pt x="9364" y="713"/>
                    <a:pt x="9364" y="713"/>
                  </a:cubicBezTo>
                  <a:cubicBezTo>
                    <a:pt x="9364" y="626"/>
                    <a:pt x="9364" y="626"/>
                    <a:pt x="9364" y="626"/>
                  </a:cubicBezTo>
                  <a:cubicBezTo>
                    <a:pt x="8749" y="626"/>
                    <a:pt x="8749" y="626"/>
                    <a:pt x="8749" y="626"/>
                  </a:cubicBezTo>
                  <a:cubicBezTo>
                    <a:pt x="8749" y="713"/>
                    <a:pt x="8749" y="713"/>
                    <a:pt x="8749" y="713"/>
                  </a:cubicBezTo>
                  <a:cubicBezTo>
                    <a:pt x="8800" y="713"/>
                    <a:pt x="8800" y="713"/>
                    <a:pt x="8800" y="713"/>
                  </a:cubicBezTo>
                  <a:cubicBezTo>
                    <a:pt x="8829" y="712"/>
                    <a:pt x="8928" y="807"/>
                    <a:pt x="8947" y="843"/>
                  </a:cubicBezTo>
                  <a:close/>
                  <a:moveTo>
                    <a:pt x="5117" y="349"/>
                  </a:moveTo>
                  <a:cubicBezTo>
                    <a:pt x="5195" y="353"/>
                    <a:pt x="5261" y="293"/>
                    <a:pt x="5265" y="215"/>
                  </a:cubicBezTo>
                  <a:cubicBezTo>
                    <a:pt x="5265" y="210"/>
                    <a:pt x="5265" y="206"/>
                    <a:pt x="5265" y="201"/>
                  </a:cubicBezTo>
                  <a:cubicBezTo>
                    <a:pt x="5265" y="112"/>
                    <a:pt x="5202" y="56"/>
                    <a:pt x="5117" y="56"/>
                  </a:cubicBezTo>
                  <a:cubicBezTo>
                    <a:pt x="5032" y="56"/>
                    <a:pt x="4967" y="112"/>
                    <a:pt x="4967" y="201"/>
                  </a:cubicBezTo>
                  <a:cubicBezTo>
                    <a:pt x="4965" y="280"/>
                    <a:pt x="5026" y="346"/>
                    <a:pt x="5105" y="349"/>
                  </a:cubicBezTo>
                  <a:cubicBezTo>
                    <a:pt x="5109" y="349"/>
                    <a:pt x="5113" y="349"/>
                    <a:pt x="5117" y="349"/>
                  </a:cubicBezTo>
                  <a:close/>
                  <a:moveTo>
                    <a:pt x="3836" y="1676"/>
                  </a:moveTo>
                  <a:cubicBezTo>
                    <a:pt x="3749" y="1676"/>
                    <a:pt x="3749" y="1676"/>
                    <a:pt x="3749" y="1676"/>
                  </a:cubicBezTo>
                  <a:cubicBezTo>
                    <a:pt x="3715" y="1676"/>
                    <a:pt x="3613" y="1579"/>
                    <a:pt x="3613" y="1543"/>
                  </a:cubicBezTo>
                  <a:cubicBezTo>
                    <a:pt x="3613" y="1075"/>
                    <a:pt x="3613" y="1075"/>
                    <a:pt x="3613" y="1075"/>
                  </a:cubicBezTo>
                  <a:cubicBezTo>
                    <a:pt x="3793" y="882"/>
                    <a:pt x="3793" y="882"/>
                    <a:pt x="3793" y="882"/>
                  </a:cubicBezTo>
                  <a:cubicBezTo>
                    <a:pt x="4403" y="1763"/>
                    <a:pt x="4403" y="1763"/>
                    <a:pt x="4403" y="1763"/>
                  </a:cubicBezTo>
                  <a:cubicBezTo>
                    <a:pt x="6040" y="1763"/>
                    <a:pt x="6040" y="1763"/>
                    <a:pt x="6040" y="1763"/>
                  </a:cubicBezTo>
                  <a:cubicBezTo>
                    <a:pt x="6040" y="1676"/>
                    <a:pt x="6040" y="1676"/>
                    <a:pt x="6040" y="1676"/>
                  </a:cubicBezTo>
                  <a:cubicBezTo>
                    <a:pt x="5974" y="1676"/>
                    <a:pt x="5974" y="1676"/>
                    <a:pt x="5974" y="1676"/>
                  </a:cubicBezTo>
                  <a:cubicBezTo>
                    <a:pt x="5940" y="1676"/>
                    <a:pt x="5848" y="1594"/>
                    <a:pt x="5848" y="1555"/>
                  </a:cubicBezTo>
                  <a:cubicBezTo>
                    <a:pt x="5848" y="981"/>
                    <a:pt x="5848" y="981"/>
                    <a:pt x="5848" y="981"/>
                  </a:cubicBezTo>
                  <a:cubicBezTo>
                    <a:pt x="5848" y="904"/>
                    <a:pt x="6059" y="744"/>
                    <a:pt x="6221" y="744"/>
                  </a:cubicBezTo>
                  <a:cubicBezTo>
                    <a:pt x="6345" y="744"/>
                    <a:pt x="6403" y="829"/>
                    <a:pt x="6403" y="940"/>
                  </a:cubicBezTo>
                  <a:cubicBezTo>
                    <a:pt x="6403" y="1555"/>
                    <a:pt x="6403" y="1555"/>
                    <a:pt x="6403" y="1555"/>
                  </a:cubicBezTo>
                  <a:cubicBezTo>
                    <a:pt x="6403" y="1594"/>
                    <a:pt x="6311" y="1676"/>
                    <a:pt x="6277" y="1676"/>
                  </a:cubicBezTo>
                  <a:cubicBezTo>
                    <a:pt x="6211" y="1676"/>
                    <a:pt x="6211" y="1676"/>
                    <a:pt x="6211" y="1676"/>
                  </a:cubicBezTo>
                  <a:cubicBezTo>
                    <a:pt x="6211" y="1763"/>
                    <a:pt x="6211" y="1763"/>
                    <a:pt x="6211" y="1763"/>
                  </a:cubicBezTo>
                  <a:cubicBezTo>
                    <a:pt x="6810" y="1763"/>
                    <a:pt x="6810" y="1763"/>
                    <a:pt x="6810" y="1763"/>
                  </a:cubicBezTo>
                  <a:cubicBezTo>
                    <a:pt x="6810" y="1676"/>
                    <a:pt x="6810" y="1676"/>
                    <a:pt x="6810" y="1676"/>
                  </a:cubicBezTo>
                  <a:cubicBezTo>
                    <a:pt x="6739" y="1676"/>
                    <a:pt x="6739" y="1676"/>
                    <a:pt x="6739" y="1676"/>
                  </a:cubicBezTo>
                  <a:cubicBezTo>
                    <a:pt x="6706" y="1676"/>
                    <a:pt x="6613" y="1594"/>
                    <a:pt x="6613" y="1555"/>
                  </a:cubicBezTo>
                  <a:cubicBezTo>
                    <a:pt x="6613" y="928"/>
                    <a:pt x="6613" y="928"/>
                    <a:pt x="6613" y="928"/>
                  </a:cubicBezTo>
                  <a:cubicBezTo>
                    <a:pt x="6613" y="732"/>
                    <a:pt x="6473" y="601"/>
                    <a:pt x="6296" y="601"/>
                  </a:cubicBezTo>
                  <a:cubicBezTo>
                    <a:pt x="6091" y="601"/>
                    <a:pt x="5984" y="720"/>
                    <a:pt x="5846" y="860"/>
                  </a:cubicBezTo>
                  <a:cubicBezTo>
                    <a:pt x="5803" y="625"/>
                    <a:pt x="5803" y="625"/>
                    <a:pt x="5803" y="625"/>
                  </a:cubicBezTo>
                  <a:cubicBezTo>
                    <a:pt x="5441" y="625"/>
                    <a:pt x="5441" y="625"/>
                    <a:pt x="5441" y="625"/>
                  </a:cubicBezTo>
                  <a:cubicBezTo>
                    <a:pt x="5441" y="712"/>
                    <a:pt x="5441" y="712"/>
                    <a:pt x="5441" y="712"/>
                  </a:cubicBezTo>
                  <a:cubicBezTo>
                    <a:pt x="5512" y="712"/>
                    <a:pt x="5512" y="712"/>
                    <a:pt x="5512" y="712"/>
                  </a:cubicBezTo>
                  <a:cubicBezTo>
                    <a:pt x="5546" y="712"/>
                    <a:pt x="5638" y="798"/>
                    <a:pt x="5638" y="833"/>
                  </a:cubicBezTo>
                  <a:cubicBezTo>
                    <a:pt x="5638" y="1555"/>
                    <a:pt x="5638" y="1555"/>
                    <a:pt x="5638" y="1555"/>
                  </a:cubicBezTo>
                  <a:cubicBezTo>
                    <a:pt x="5638" y="1593"/>
                    <a:pt x="5546" y="1676"/>
                    <a:pt x="5512" y="1676"/>
                  </a:cubicBezTo>
                  <a:cubicBezTo>
                    <a:pt x="5371" y="1676"/>
                    <a:pt x="5371" y="1676"/>
                    <a:pt x="5371" y="1676"/>
                  </a:cubicBezTo>
                  <a:cubicBezTo>
                    <a:pt x="5340" y="1676"/>
                    <a:pt x="5245" y="1593"/>
                    <a:pt x="5245" y="1555"/>
                  </a:cubicBezTo>
                  <a:cubicBezTo>
                    <a:pt x="5245" y="625"/>
                    <a:pt x="5245" y="625"/>
                    <a:pt x="5245" y="625"/>
                  </a:cubicBezTo>
                  <a:cubicBezTo>
                    <a:pt x="4836" y="625"/>
                    <a:pt x="4836" y="625"/>
                    <a:pt x="4836" y="625"/>
                  </a:cubicBezTo>
                  <a:cubicBezTo>
                    <a:pt x="4836" y="712"/>
                    <a:pt x="4836" y="712"/>
                    <a:pt x="4836" y="712"/>
                  </a:cubicBezTo>
                  <a:cubicBezTo>
                    <a:pt x="4906" y="712"/>
                    <a:pt x="4906" y="712"/>
                    <a:pt x="4906" y="712"/>
                  </a:cubicBezTo>
                  <a:cubicBezTo>
                    <a:pt x="4940" y="712"/>
                    <a:pt x="5032" y="798"/>
                    <a:pt x="5032" y="833"/>
                  </a:cubicBezTo>
                  <a:cubicBezTo>
                    <a:pt x="5032" y="1555"/>
                    <a:pt x="5032" y="1555"/>
                    <a:pt x="5032" y="1555"/>
                  </a:cubicBezTo>
                  <a:cubicBezTo>
                    <a:pt x="5032" y="1594"/>
                    <a:pt x="4940" y="1676"/>
                    <a:pt x="4906" y="1676"/>
                  </a:cubicBezTo>
                  <a:cubicBezTo>
                    <a:pt x="4778" y="1676"/>
                    <a:pt x="4778" y="1676"/>
                    <a:pt x="4778" y="1676"/>
                  </a:cubicBezTo>
                  <a:cubicBezTo>
                    <a:pt x="4742" y="1676"/>
                    <a:pt x="4599" y="1567"/>
                    <a:pt x="4570" y="1528"/>
                  </a:cubicBezTo>
                  <a:cubicBezTo>
                    <a:pt x="3953" y="707"/>
                    <a:pt x="3953" y="707"/>
                    <a:pt x="3953" y="707"/>
                  </a:cubicBezTo>
                  <a:cubicBezTo>
                    <a:pt x="4381" y="247"/>
                    <a:pt x="4381" y="247"/>
                    <a:pt x="4381" y="247"/>
                  </a:cubicBezTo>
                  <a:cubicBezTo>
                    <a:pt x="4405" y="221"/>
                    <a:pt x="4572" y="88"/>
                    <a:pt x="4606" y="88"/>
                  </a:cubicBezTo>
                  <a:cubicBezTo>
                    <a:pt x="4692" y="88"/>
                    <a:pt x="4692" y="88"/>
                    <a:pt x="4692" y="88"/>
                  </a:cubicBezTo>
                  <a:cubicBezTo>
                    <a:pt x="4692" y="0"/>
                    <a:pt x="4692" y="0"/>
                    <a:pt x="4692" y="0"/>
                  </a:cubicBezTo>
                  <a:cubicBezTo>
                    <a:pt x="4052" y="0"/>
                    <a:pt x="4052" y="0"/>
                    <a:pt x="4052" y="0"/>
                  </a:cubicBezTo>
                  <a:cubicBezTo>
                    <a:pt x="4052" y="88"/>
                    <a:pt x="4052" y="88"/>
                    <a:pt x="4052" y="88"/>
                  </a:cubicBezTo>
                  <a:cubicBezTo>
                    <a:pt x="4137" y="88"/>
                    <a:pt x="4137" y="88"/>
                    <a:pt x="4137" y="88"/>
                  </a:cubicBezTo>
                  <a:cubicBezTo>
                    <a:pt x="4171" y="88"/>
                    <a:pt x="4270" y="209"/>
                    <a:pt x="4244" y="240"/>
                  </a:cubicBezTo>
                  <a:cubicBezTo>
                    <a:pt x="3614" y="942"/>
                    <a:pt x="3614" y="942"/>
                    <a:pt x="3614" y="942"/>
                  </a:cubicBezTo>
                  <a:cubicBezTo>
                    <a:pt x="3614" y="221"/>
                    <a:pt x="3614" y="221"/>
                    <a:pt x="3614" y="221"/>
                  </a:cubicBezTo>
                  <a:cubicBezTo>
                    <a:pt x="3614" y="184"/>
                    <a:pt x="3716" y="88"/>
                    <a:pt x="3750" y="88"/>
                  </a:cubicBezTo>
                  <a:cubicBezTo>
                    <a:pt x="3837" y="88"/>
                    <a:pt x="3837" y="88"/>
                    <a:pt x="3837" y="88"/>
                  </a:cubicBezTo>
                  <a:cubicBezTo>
                    <a:pt x="3837" y="0"/>
                    <a:pt x="3837" y="0"/>
                    <a:pt x="3837" y="0"/>
                  </a:cubicBezTo>
                  <a:cubicBezTo>
                    <a:pt x="3149" y="0"/>
                    <a:pt x="3149" y="0"/>
                    <a:pt x="3149" y="0"/>
                  </a:cubicBezTo>
                  <a:cubicBezTo>
                    <a:pt x="3149" y="88"/>
                    <a:pt x="3149" y="88"/>
                    <a:pt x="3149" y="88"/>
                  </a:cubicBezTo>
                  <a:cubicBezTo>
                    <a:pt x="3236" y="88"/>
                    <a:pt x="3236" y="88"/>
                    <a:pt x="3236" y="88"/>
                  </a:cubicBezTo>
                  <a:cubicBezTo>
                    <a:pt x="3270" y="88"/>
                    <a:pt x="3371" y="184"/>
                    <a:pt x="3371" y="221"/>
                  </a:cubicBezTo>
                  <a:cubicBezTo>
                    <a:pt x="3371" y="1543"/>
                    <a:pt x="3371" y="1543"/>
                    <a:pt x="3371" y="1543"/>
                  </a:cubicBezTo>
                  <a:cubicBezTo>
                    <a:pt x="3371" y="1579"/>
                    <a:pt x="3270" y="1676"/>
                    <a:pt x="3236" y="1676"/>
                  </a:cubicBezTo>
                  <a:cubicBezTo>
                    <a:pt x="3149" y="1676"/>
                    <a:pt x="3149" y="1676"/>
                    <a:pt x="3149" y="1676"/>
                  </a:cubicBezTo>
                  <a:cubicBezTo>
                    <a:pt x="3149" y="1763"/>
                    <a:pt x="3149" y="1763"/>
                    <a:pt x="3149" y="1763"/>
                  </a:cubicBezTo>
                  <a:cubicBezTo>
                    <a:pt x="3836" y="1763"/>
                    <a:pt x="3836" y="1763"/>
                    <a:pt x="3836" y="1763"/>
                  </a:cubicBezTo>
                  <a:lnTo>
                    <a:pt x="3836" y="1676"/>
                  </a:lnTo>
                  <a:close/>
                  <a:moveTo>
                    <a:pt x="7720" y="1446"/>
                  </a:moveTo>
                  <a:cubicBezTo>
                    <a:pt x="7720" y="1262"/>
                    <a:pt x="7579" y="1163"/>
                    <a:pt x="7456" y="1114"/>
                  </a:cubicBezTo>
                  <a:cubicBezTo>
                    <a:pt x="7361" y="1078"/>
                    <a:pt x="7296" y="1049"/>
                    <a:pt x="7209" y="1013"/>
                  </a:cubicBezTo>
                  <a:cubicBezTo>
                    <a:pt x="7090" y="962"/>
                    <a:pt x="7023" y="927"/>
                    <a:pt x="7023" y="829"/>
                  </a:cubicBezTo>
                  <a:cubicBezTo>
                    <a:pt x="7023" y="739"/>
                    <a:pt x="7085" y="683"/>
                    <a:pt x="7219" y="683"/>
                  </a:cubicBezTo>
                  <a:cubicBezTo>
                    <a:pt x="7432" y="683"/>
                    <a:pt x="7565" y="884"/>
                    <a:pt x="7565" y="979"/>
                  </a:cubicBezTo>
                  <a:cubicBezTo>
                    <a:pt x="7635" y="979"/>
                    <a:pt x="7635" y="979"/>
                    <a:pt x="7635" y="979"/>
                  </a:cubicBezTo>
                  <a:cubicBezTo>
                    <a:pt x="7635" y="625"/>
                    <a:pt x="7635" y="625"/>
                    <a:pt x="7635" y="625"/>
                  </a:cubicBezTo>
                  <a:cubicBezTo>
                    <a:pt x="7572" y="625"/>
                    <a:pt x="7572" y="625"/>
                    <a:pt x="7572" y="625"/>
                  </a:cubicBezTo>
                  <a:cubicBezTo>
                    <a:pt x="7562" y="649"/>
                    <a:pt x="7543" y="657"/>
                    <a:pt x="7509" y="657"/>
                  </a:cubicBezTo>
                  <a:cubicBezTo>
                    <a:pt x="7422" y="657"/>
                    <a:pt x="7352" y="598"/>
                    <a:pt x="7226" y="598"/>
                  </a:cubicBezTo>
                  <a:cubicBezTo>
                    <a:pt x="7015" y="598"/>
                    <a:pt x="6882" y="707"/>
                    <a:pt x="6882" y="913"/>
                  </a:cubicBezTo>
                  <a:cubicBezTo>
                    <a:pt x="6882" y="1071"/>
                    <a:pt x="6986" y="1160"/>
                    <a:pt x="7124" y="1223"/>
                  </a:cubicBezTo>
                  <a:cubicBezTo>
                    <a:pt x="7216" y="1264"/>
                    <a:pt x="7282" y="1291"/>
                    <a:pt x="7361" y="1325"/>
                  </a:cubicBezTo>
                  <a:cubicBezTo>
                    <a:pt x="7463" y="1367"/>
                    <a:pt x="7577" y="1412"/>
                    <a:pt x="7577" y="1540"/>
                  </a:cubicBezTo>
                  <a:cubicBezTo>
                    <a:pt x="7577" y="1647"/>
                    <a:pt x="7497" y="1695"/>
                    <a:pt x="7354" y="1695"/>
                  </a:cubicBezTo>
                  <a:cubicBezTo>
                    <a:pt x="7107" y="1695"/>
                    <a:pt x="6952" y="1468"/>
                    <a:pt x="6952" y="1361"/>
                  </a:cubicBezTo>
                  <a:cubicBezTo>
                    <a:pt x="6882" y="1361"/>
                    <a:pt x="6882" y="1361"/>
                    <a:pt x="6882" y="1361"/>
                  </a:cubicBezTo>
                  <a:cubicBezTo>
                    <a:pt x="6882" y="1763"/>
                    <a:pt x="6882" y="1763"/>
                    <a:pt x="6882" y="1763"/>
                  </a:cubicBezTo>
                  <a:cubicBezTo>
                    <a:pt x="6938" y="1763"/>
                    <a:pt x="6938" y="1763"/>
                    <a:pt x="6938" y="1763"/>
                  </a:cubicBezTo>
                  <a:cubicBezTo>
                    <a:pt x="6967" y="1737"/>
                    <a:pt x="6979" y="1725"/>
                    <a:pt x="7025" y="1725"/>
                  </a:cubicBezTo>
                  <a:cubicBezTo>
                    <a:pt x="7124" y="1725"/>
                    <a:pt x="7209" y="1790"/>
                    <a:pt x="7354" y="1790"/>
                  </a:cubicBezTo>
                  <a:cubicBezTo>
                    <a:pt x="7570" y="1790"/>
                    <a:pt x="7720" y="1664"/>
                    <a:pt x="7720" y="1446"/>
                  </a:cubicBezTo>
                  <a:close/>
                  <a:moveTo>
                    <a:pt x="2703" y="1584"/>
                  </a:moveTo>
                  <a:cubicBezTo>
                    <a:pt x="2442" y="1584"/>
                    <a:pt x="2282" y="1383"/>
                    <a:pt x="2282" y="1129"/>
                  </a:cubicBezTo>
                  <a:cubicBezTo>
                    <a:pt x="2282" y="860"/>
                    <a:pt x="2391" y="683"/>
                    <a:pt x="2618" y="683"/>
                  </a:cubicBezTo>
                  <a:cubicBezTo>
                    <a:pt x="2815" y="683"/>
                    <a:pt x="2844" y="840"/>
                    <a:pt x="2812" y="1017"/>
                  </a:cubicBezTo>
                  <a:cubicBezTo>
                    <a:pt x="2882" y="1013"/>
                    <a:pt x="2882" y="1013"/>
                    <a:pt x="2882" y="1013"/>
                  </a:cubicBezTo>
                  <a:cubicBezTo>
                    <a:pt x="3049" y="753"/>
                    <a:pt x="3049" y="753"/>
                    <a:pt x="3049" y="753"/>
                  </a:cubicBezTo>
                  <a:cubicBezTo>
                    <a:pt x="2945" y="649"/>
                    <a:pt x="2824" y="596"/>
                    <a:pt x="2645" y="596"/>
                  </a:cubicBezTo>
                  <a:cubicBezTo>
                    <a:pt x="2345" y="596"/>
                    <a:pt x="2100" y="833"/>
                    <a:pt x="2100" y="1201"/>
                  </a:cubicBezTo>
                  <a:cubicBezTo>
                    <a:pt x="2100" y="1526"/>
                    <a:pt x="2306" y="1792"/>
                    <a:pt x="2623" y="1792"/>
                  </a:cubicBezTo>
                  <a:cubicBezTo>
                    <a:pt x="2909" y="1792"/>
                    <a:pt x="3061" y="1635"/>
                    <a:pt x="3136" y="1386"/>
                  </a:cubicBezTo>
                  <a:cubicBezTo>
                    <a:pt x="3066" y="1386"/>
                    <a:pt x="3066" y="1386"/>
                    <a:pt x="3066" y="1386"/>
                  </a:cubicBezTo>
                  <a:cubicBezTo>
                    <a:pt x="2986" y="1519"/>
                    <a:pt x="2902" y="1584"/>
                    <a:pt x="2703" y="1584"/>
                  </a:cubicBezTo>
                  <a:close/>
                  <a:moveTo>
                    <a:pt x="1053" y="1322"/>
                  </a:moveTo>
                  <a:cubicBezTo>
                    <a:pt x="1041" y="1322"/>
                    <a:pt x="1041" y="1322"/>
                    <a:pt x="1041" y="1322"/>
                  </a:cubicBezTo>
                  <a:cubicBezTo>
                    <a:pt x="511" y="0"/>
                    <a:pt x="511" y="0"/>
                    <a:pt x="51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87" y="88"/>
                    <a:pt x="87" y="88"/>
                    <a:pt x="87" y="88"/>
                  </a:cubicBezTo>
                  <a:cubicBezTo>
                    <a:pt x="121" y="88"/>
                    <a:pt x="223" y="184"/>
                    <a:pt x="223" y="221"/>
                  </a:cubicBezTo>
                  <a:cubicBezTo>
                    <a:pt x="223" y="1543"/>
                    <a:pt x="223" y="1543"/>
                    <a:pt x="223" y="1543"/>
                  </a:cubicBezTo>
                  <a:cubicBezTo>
                    <a:pt x="223" y="1579"/>
                    <a:pt x="121" y="1676"/>
                    <a:pt x="87" y="1676"/>
                  </a:cubicBezTo>
                  <a:cubicBezTo>
                    <a:pt x="0" y="1676"/>
                    <a:pt x="0" y="1676"/>
                    <a:pt x="0" y="1676"/>
                  </a:cubicBezTo>
                  <a:cubicBezTo>
                    <a:pt x="0" y="1763"/>
                    <a:pt x="0" y="1763"/>
                    <a:pt x="0" y="1763"/>
                  </a:cubicBezTo>
                  <a:cubicBezTo>
                    <a:pt x="549" y="1763"/>
                    <a:pt x="549" y="1763"/>
                    <a:pt x="549" y="1763"/>
                  </a:cubicBezTo>
                  <a:cubicBezTo>
                    <a:pt x="549" y="1676"/>
                    <a:pt x="549" y="1676"/>
                    <a:pt x="549" y="1676"/>
                  </a:cubicBezTo>
                  <a:cubicBezTo>
                    <a:pt x="462" y="1676"/>
                    <a:pt x="462" y="1676"/>
                    <a:pt x="462" y="1676"/>
                  </a:cubicBezTo>
                  <a:cubicBezTo>
                    <a:pt x="428" y="1676"/>
                    <a:pt x="327" y="1579"/>
                    <a:pt x="327" y="1543"/>
                  </a:cubicBezTo>
                  <a:cubicBezTo>
                    <a:pt x="327" y="233"/>
                    <a:pt x="327" y="233"/>
                    <a:pt x="327" y="233"/>
                  </a:cubicBezTo>
                  <a:cubicBezTo>
                    <a:pt x="968" y="1794"/>
                    <a:pt x="968" y="1794"/>
                    <a:pt x="968" y="1794"/>
                  </a:cubicBezTo>
                  <a:cubicBezTo>
                    <a:pt x="1609" y="259"/>
                    <a:pt x="1609" y="259"/>
                    <a:pt x="1609" y="259"/>
                  </a:cubicBezTo>
                  <a:cubicBezTo>
                    <a:pt x="1609" y="1543"/>
                    <a:pt x="1609" y="1543"/>
                    <a:pt x="1609" y="1543"/>
                  </a:cubicBezTo>
                  <a:cubicBezTo>
                    <a:pt x="1609" y="1579"/>
                    <a:pt x="1507" y="1676"/>
                    <a:pt x="1473" y="1676"/>
                  </a:cubicBezTo>
                  <a:cubicBezTo>
                    <a:pt x="1386" y="1676"/>
                    <a:pt x="1386" y="1676"/>
                    <a:pt x="1386" y="1676"/>
                  </a:cubicBezTo>
                  <a:cubicBezTo>
                    <a:pt x="1386" y="1763"/>
                    <a:pt x="1386" y="1763"/>
                    <a:pt x="1386" y="1763"/>
                  </a:cubicBezTo>
                  <a:cubicBezTo>
                    <a:pt x="2069" y="1763"/>
                    <a:pt x="2069" y="1763"/>
                    <a:pt x="2069" y="1763"/>
                  </a:cubicBezTo>
                  <a:cubicBezTo>
                    <a:pt x="2069" y="1676"/>
                    <a:pt x="2069" y="1676"/>
                    <a:pt x="2069" y="1676"/>
                  </a:cubicBezTo>
                  <a:cubicBezTo>
                    <a:pt x="1983" y="1676"/>
                    <a:pt x="1983" y="1676"/>
                    <a:pt x="1983" y="1676"/>
                  </a:cubicBezTo>
                  <a:cubicBezTo>
                    <a:pt x="1949" y="1676"/>
                    <a:pt x="1848" y="1579"/>
                    <a:pt x="1848" y="1543"/>
                  </a:cubicBezTo>
                  <a:cubicBezTo>
                    <a:pt x="1848" y="221"/>
                    <a:pt x="1848" y="221"/>
                    <a:pt x="1848" y="221"/>
                  </a:cubicBezTo>
                  <a:cubicBezTo>
                    <a:pt x="1848" y="184"/>
                    <a:pt x="1949" y="88"/>
                    <a:pt x="1983" y="88"/>
                  </a:cubicBezTo>
                  <a:cubicBezTo>
                    <a:pt x="2070" y="88"/>
                    <a:pt x="2070" y="88"/>
                    <a:pt x="2070" y="88"/>
                  </a:cubicBezTo>
                  <a:cubicBezTo>
                    <a:pt x="2070" y="0"/>
                    <a:pt x="2070" y="0"/>
                    <a:pt x="2070" y="0"/>
                  </a:cubicBezTo>
                  <a:cubicBezTo>
                    <a:pt x="1610" y="0"/>
                    <a:pt x="1610" y="0"/>
                    <a:pt x="1610" y="0"/>
                  </a:cubicBezTo>
                  <a:lnTo>
                    <a:pt x="1053" y="132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anose="020B0604020202020204" pitchFamily="34" charset="0"/>
              </a:endParaRPr>
            </a:p>
          </p:txBody>
        </p:sp>
      </p:grpSp>
      <p:sp>
        <p:nvSpPr>
          <p:cNvPr id="10" name="5. Source" hidden="1">
            <a:extLst>
              <a:ext uri="{FF2B5EF4-FFF2-40B4-BE49-F238E27FC236}">
                <a16:creationId xmlns:a16="http://schemas.microsoft.com/office/drawing/2014/main" id="{EED9D83D-9CC3-45F3-876D-CC42BC0B70E0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367790021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554736" y="1706563"/>
            <a:ext cx="3813048" cy="694944"/>
          </a:xfrm>
          <a:prstGeom prst="rect">
            <a:avLst/>
          </a:prstGeom>
        </p:spPr>
        <p:txBody>
          <a:bodyPr anchor="t">
            <a:noAutofit/>
          </a:bodyPr>
          <a:lstStyle>
            <a:lvl1pPr>
              <a:lnSpc>
                <a:spcPct val="90000"/>
              </a:lnSpc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EFB4BF85-6002-4998-80DC-DC1B92544D1D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0E2D5DBB-C1B8-4A27-836D-C2E6D553234D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7" name="1. On-page tracker">
            <a:extLst>
              <a:ext uri="{FF2B5EF4-FFF2-40B4-BE49-F238E27FC236}">
                <a16:creationId xmlns:a16="http://schemas.microsoft.com/office/drawing/2014/main" id="{7ACB1E33-E5FF-447C-86C8-D2AD164B7EF2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7156704" y="89319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85249868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id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554736" y="3044280"/>
            <a:ext cx="5065776" cy="769441"/>
          </a:xfrm>
          <a:prstGeom prst="rect">
            <a:avLst/>
          </a:prstGeom>
        </p:spPr>
        <p:txBody>
          <a:bodyPr rIns="365760" anchor="ctr">
            <a:noAutofit/>
          </a:bodyPr>
          <a:lstStyle>
            <a:lvl1pPr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2BF771FC-DD10-42B6-A51E-7F1E26F8184D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C0D33C43-5B9F-44B4-82FA-BAAD11A7FB8E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6" name="1. On-page tracker">
            <a:extLst>
              <a:ext uri="{FF2B5EF4-FFF2-40B4-BE49-F238E27FC236}">
                <a16:creationId xmlns:a16="http://schemas.microsoft.com/office/drawing/2014/main" id="{A017FC45-BFA7-4FE7-9F1F-9561D7B0EF63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7156704" y="89319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07970749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2. Slide Title">
            <a:extLst>
              <a:ext uri="{FF2B5EF4-FFF2-40B4-BE49-F238E27FC236}">
                <a16:creationId xmlns:a16="http://schemas.microsoft.com/office/drawing/2014/main" id="{99495DFD-8D6A-4DD8-AE3A-47FA42AA0A4F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554736" y="4580468"/>
            <a:ext cx="11082528" cy="677108"/>
          </a:xfrm>
        </p:spPr>
        <p:txBody>
          <a:bodyPr anchor="b">
            <a:noAutofit/>
          </a:bodyPr>
          <a:lstStyle>
            <a:lvl1pPr>
              <a:lnSpc>
                <a:spcPct val="100000"/>
              </a:lnSpc>
              <a:defRPr sz="44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A86AE8A6-05EF-4E76-AAAD-41743692E9F9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B871FE09-BB6E-4334-B0EA-E52395AA61B3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10F96B25-8621-4D4C-8F08-2DA28487B561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7156704" y="89319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249706314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2. Slide Title">
            <a:extLst>
              <a:ext uri="{FF2B5EF4-FFF2-40B4-BE49-F238E27FC236}">
                <a16:creationId xmlns:a16="http://schemas.microsoft.com/office/drawing/2014/main" id="{EA735538-C733-4892-93A4-7B433D8B8293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1505712" y="3556229"/>
            <a:ext cx="9180576" cy="523220"/>
          </a:xfrm>
          <a:prstGeom prst="rect">
            <a:avLst/>
          </a:prstGeom>
        </p:spPr>
        <p:txBody>
          <a:bodyPr>
            <a:spAutoFit/>
          </a:bodyPr>
          <a:lstStyle>
            <a:lvl1pPr>
              <a:lnSpc>
                <a:spcPct val="105000"/>
              </a:lnSpc>
              <a:defRPr sz="3400"/>
            </a:lvl1pPr>
          </a:lstStyle>
          <a:p>
            <a:r>
              <a:rPr lang="en-US" dirty="0"/>
              <a:t>“Click to add quote</a:t>
            </a:r>
          </a:p>
        </p:txBody>
      </p:sp>
      <p:sp>
        <p:nvSpPr>
          <p:cNvPr id="6" name="3. Subtitle">
            <a:extLst>
              <a:ext uri="{FF2B5EF4-FFF2-40B4-BE49-F238E27FC236}">
                <a16:creationId xmlns:a16="http://schemas.microsoft.com/office/drawing/2014/main" id="{8DB5022C-F66C-4018-82F3-195571DDD527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2"/>
            </p:custDataLst>
          </p:nvPr>
        </p:nvSpPr>
        <p:spPr>
          <a:xfrm>
            <a:off x="1505712" y="4284630"/>
            <a:ext cx="9180576" cy="276999"/>
          </a:xfr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add quote sourc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FAEB6FCE-50CC-4F2B-A5B3-CB508EDFCD46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97195F4E-ECA7-41A9-AFF3-0C4DAD103DA6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06023FD6-0A46-4B41-8F49-E0D648510628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5"/>
            </p:custDataLst>
          </p:nvPr>
        </p:nvSpPr>
        <p:spPr>
          <a:xfrm>
            <a:off x="7156704" y="89319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241169766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A8D6A48-EE20-4EB4-A234-9F3B16C0287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077992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386" name="think-cell Slide" r:id="rId16" imgW="413" imgH="416" progId="TCLayout.ActiveDocument.1">
                  <p:embed/>
                </p:oleObj>
              </mc:Choice>
              <mc:Fallback>
                <p:oleObj name="think-cell Slide" r:id="rId16" imgW="413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6FAC554-F995-4246-BE36-413D2200D983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3413760" y="0"/>
            <a:ext cx="8778240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 hidden="1">
            <a:extLst>
              <a:ext uri="{FF2B5EF4-FFF2-40B4-BE49-F238E27FC236}">
                <a16:creationId xmlns:a16="http://schemas.microsoft.com/office/drawing/2014/main" id="{7D03BAA3-96F1-4B7C-895E-B9B8CFDDA50B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ACF9526A-1F1C-4E57-8A8D-21EDBC12066F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C2A81BD2-BB6D-46F4-A26E-5D243E24DDD3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3715757" y="6453769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860F551B-05D0-4883-89B6-6CE418F81F78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554736" y="6453769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Right">
            <a:extLst>
              <a:ext uri="{FF2B5EF4-FFF2-40B4-BE49-F238E27FC236}">
                <a16:creationId xmlns:a16="http://schemas.microsoft.com/office/drawing/2014/main" id="{AD6B0CAC-AB2A-44BD-A5F1-181F096A1CA7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3715757" y="1181906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TopLineLeft">
            <a:extLst>
              <a:ext uri="{FF2B5EF4-FFF2-40B4-BE49-F238E27FC236}">
                <a16:creationId xmlns:a16="http://schemas.microsoft.com/office/drawing/2014/main" id="{B80458B7-DA1A-4215-B701-10FAC61D0E28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1181906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2. Slide Title">
            <a:extLst>
              <a:ext uri="{FF2B5EF4-FFF2-40B4-BE49-F238E27FC236}">
                <a16:creationId xmlns:a16="http://schemas.microsoft.com/office/drawing/2014/main" id="{6647A441-8DE4-4236-BCC7-B694B2C59E00}"/>
              </a:ext>
            </a:extLst>
          </p:cNvPr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554736" y="2744369"/>
            <a:ext cx="2514600" cy="769441"/>
          </a:xfrm>
        </p:spPr>
        <p:txBody>
          <a:bodyPr anchor="b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A4DBA574-6D59-4DFD-82A7-9B1E9AEB906E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6" y="3659644"/>
            <a:ext cx="2514600" cy="553998"/>
          </a:xfr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25B2DE14-9B3F-4199-B082-9FEB12CE57EA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8" name="1. On-page tracker">
            <a:extLst>
              <a:ext uri="{FF2B5EF4-FFF2-40B4-BE49-F238E27FC236}">
                <a16:creationId xmlns:a16="http://schemas.microsoft.com/office/drawing/2014/main" id="{21EBF74E-7681-4FD1-8312-F1969708C2B4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4"/>
            </p:custDataLst>
          </p:nvPr>
        </p:nvSpPr>
        <p:spPr>
          <a:xfrm>
            <a:off x="7156704" y="89319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247036955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EE6E84E-0DE7-4EEF-8932-BF42153B3B5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155183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410" name="think-cell Slide" r:id="rId16" imgW="413" imgH="416" progId="TCLayout.ActiveDocument.1">
                  <p:embed/>
                </p:oleObj>
              </mc:Choice>
              <mc:Fallback>
                <p:oleObj name="think-cell Slide" r:id="rId16" imgW="413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2D2E0F6-5BB5-47A0-8E4A-CD4E6673B19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4364736" y="0"/>
            <a:ext cx="7827264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 hidden="1">
            <a:extLst>
              <a:ext uri="{FF2B5EF4-FFF2-40B4-BE49-F238E27FC236}">
                <a16:creationId xmlns:a16="http://schemas.microsoft.com/office/drawing/2014/main" id="{2D4C39DE-34D3-430B-A68C-3662DBF9F427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6B65DC7-979F-4AB7-9872-8CF5F2DCB753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C2A81BD2-BB6D-46F4-A26E-5D243E24DDD3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4671219" y="6453769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860F551B-05D0-4883-89B6-6CE418F81F78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554736" y="6453769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Right">
            <a:extLst>
              <a:ext uri="{FF2B5EF4-FFF2-40B4-BE49-F238E27FC236}">
                <a16:creationId xmlns:a16="http://schemas.microsoft.com/office/drawing/2014/main" id="{AD6B0CAC-AB2A-44BD-A5F1-181F096A1CA7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4671219" y="1181906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TopLineLeft">
            <a:extLst>
              <a:ext uri="{FF2B5EF4-FFF2-40B4-BE49-F238E27FC236}">
                <a16:creationId xmlns:a16="http://schemas.microsoft.com/office/drawing/2014/main" id="{B80458B7-DA1A-4215-B701-10FAC61D0E28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1181906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2. Slide Title">
            <a:extLst>
              <a:ext uri="{FF2B5EF4-FFF2-40B4-BE49-F238E27FC236}">
                <a16:creationId xmlns:a16="http://schemas.microsoft.com/office/drawing/2014/main" id="{4EF89F43-35C6-451B-BBE8-87D2B8B83F5E}"/>
              </a:ext>
            </a:extLst>
          </p:cNvPr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554736" y="2744369"/>
            <a:ext cx="3465576" cy="769441"/>
          </a:xfrm>
          <a:prstGeom prst="rect">
            <a:avLst/>
          </a:prstGeom>
        </p:spPr>
        <p:txBody>
          <a:bodyPr wrap="square" anchor="b">
            <a:noAutofit/>
          </a:bodyPr>
          <a:lstStyle>
            <a:lvl1pPr algn="l"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9F06A69A-B095-4159-932B-3658DD253FDF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5" y="3659644"/>
            <a:ext cx="3465575" cy="276999"/>
          </a:xfr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DA204BE1-D5C8-4D03-9090-21D41FEC78E0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8" name="1. On-page tracker">
            <a:extLst>
              <a:ext uri="{FF2B5EF4-FFF2-40B4-BE49-F238E27FC236}">
                <a16:creationId xmlns:a16="http://schemas.microsoft.com/office/drawing/2014/main" id="{EBEB0180-CF25-470E-8580-7356ED77BB1F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4"/>
            </p:custDataLst>
          </p:nvPr>
        </p:nvSpPr>
        <p:spPr>
          <a:xfrm>
            <a:off x="7156704" y="89319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269291005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918705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482" name="think-cell Slide" r:id="rId17" imgW="413" imgH="416" progId="TCLayout.ActiveDocument.1">
                  <p:embed/>
                </p:oleObj>
              </mc:Choice>
              <mc:Fallback>
                <p:oleObj name="think-cell Slide" r:id="rId17" imgW="413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5C86E70-6ADC-4EA2-90F2-373AC4FDE5D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6092952" y="0"/>
            <a:ext cx="6099048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LogoText" hidden="1">
            <a:extLst>
              <a:ext uri="{FF2B5EF4-FFF2-40B4-BE49-F238E27FC236}">
                <a16:creationId xmlns:a16="http://schemas.microsoft.com/office/drawing/2014/main" id="{609F85FD-B74A-4A4E-BFA9-7668DD6BCB90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A030B95D-1D90-4A27-8714-CFE7C7DB7020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6573171" y="6453769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546D990A-A0D7-434B-9320-6311D017DAA2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554736" y="6453769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TopLineRight">
            <a:extLst>
              <a:ext uri="{FF2B5EF4-FFF2-40B4-BE49-F238E27FC236}">
                <a16:creationId xmlns:a16="http://schemas.microsoft.com/office/drawing/2014/main" id="{9388C4F9-67A3-422B-89FF-FAD8454A2F57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6573171" y="1181906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" name="TopLineLeft">
            <a:extLst>
              <a:ext uri="{FF2B5EF4-FFF2-40B4-BE49-F238E27FC236}">
                <a16:creationId xmlns:a16="http://schemas.microsoft.com/office/drawing/2014/main" id="{1C0D7255-5C21-4254-B3DE-6D296E69C5F2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1181906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B155D849-0DEC-44CD-849F-C8D9C2279FD6}"/>
              </a:ext>
            </a:extLst>
          </p:cNvPr>
          <p:cNvCxnSpPr/>
          <p:nvPr userDrawn="1">
            <p:custDataLst>
              <p:tags r:id="rId11"/>
            </p:custDataLst>
          </p:nvPr>
        </p:nvCxnSpPr>
        <p:spPr>
          <a:xfrm>
            <a:off x="554736" y="1181906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12"/>
            </p:custDataLst>
          </p:nvPr>
        </p:nvSpPr>
        <p:spPr>
          <a:xfrm>
            <a:off x="554736" y="172212"/>
            <a:ext cx="5065776" cy="73152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13"/>
            </p:custDataLst>
          </p:nvPr>
        </p:nvSpPr>
        <p:spPr>
          <a:xfrm>
            <a:off x="554736" y="884725"/>
            <a:ext cx="5065776" cy="276999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id="{F5E9C22A-A356-4521-A359-338A663DFEA2}"/>
              </a:ext>
            </a:extLst>
          </p:cNvPr>
          <p:cNvSpPr txBox="1"/>
          <p:nvPr userDrawn="1">
            <p:custDataLst>
              <p:tags r:id="rId14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23" name="1. On-page tracker">
            <a:extLst>
              <a:ext uri="{FF2B5EF4-FFF2-40B4-BE49-F238E27FC236}">
                <a16:creationId xmlns:a16="http://schemas.microsoft.com/office/drawing/2014/main" id="{B331A9DA-3A3F-418C-8927-1C2B40DBB88F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5"/>
            </p:custDataLst>
          </p:nvPr>
        </p:nvSpPr>
        <p:spPr>
          <a:xfrm>
            <a:off x="7156704" y="89319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60546789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tags" Target="../tags/tag3.xml"/><Relationship Id="rId26" Type="http://schemas.openxmlformats.org/officeDocument/2006/relationships/tags" Target="../tags/tag11.xml"/><Relationship Id="rId39" Type="http://schemas.openxmlformats.org/officeDocument/2006/relationships/tags" Target="../tags/tag24.xml"/><Relationship Id="rId21" Type="http://schemas.openxmlformats.org/officeDocument/2006/relationships/tags" Target="../tags/tag6.xml"/><Relationship Id="rId34" Type="http://schemas.openxmlformats.org/officeDocument/2006/relationships/tags" Target="../tags/tag19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vmlDrawing" Target="../drawings/vmlDrawing1.vml"/><Relationship Id="rId20" Type="http://schemas.openxmlformats.org/officeDocument/2006/relationships/tags" Target="../tags/tag5.xml"/><Relationship Id="rId29" Type="http://schemas.openxmlformats.org/officeDocument/2006/relationships/tags" Target="../tags/tag14.xml"/><Relationship Id="rId41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ags" Target="../tags/tag9.xml"/><Relationship Id="rId32" Type="http://schemas.openxmlformats.org/officeDocument/2006/relationships/tags" Target="../tags/tag17.xml"/><Relationship Id="rId37" Type="http://schemas.openxmlformats.org/officeDocument/2006/relationships/tags" Target="../tags/tag22.xml"/><Relationship Id="rId40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23" Type="http://schemas.openxmlformats.org/officeDocument/2006/relationships/tags" Target="../tags/tag8.xml"/><Relationship Id="rId28" Type="http://schemas.openxmlformats.org/officeDocument/2006/relationships/tags" Target="../tags/tag13.xml"/><Relationship Id="rId36" Type="http://schemas.openxmlformats.org/officeDocument/2006/relationships/tags" Target="../tags/tag21.xml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4.xml"/><Relationship Id="rId31" Type="http://schemas.openxmlformats.org/officeDocument/2006/relationships/tags" Target="../tags/tag16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7.xml"/><Relationship Id="rId27" Type="http://schemas.openxmlformats.org/officeDocument/2006/relationships/tags" Target="../tags/tag12.xml"/><Relationship Id="rId30" Type="http://schemas.openxmlformats.org/officeDocument/2006/relationships/tags" Target="../tags/tag15.xml"/><Relationship Id="rId35" Type="http://schemas.openxmlformats.org/officeDocument/2006/relationships/tags" Target="../tags/tag20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2.xml"/><Relationship Id="rId25" Type="http://schemas.openxmlformats.org/officeDocument/2006/relationships/tags" Target="../tags/tag10.xml"/><Relationship Id="rId33" Type="http://schemas.openxmlformats.org/officeDocument/2006/relationships/tags" Target="../tags/tag18.xml"/><Relationship Id="rId38" Type="http://schemas.openxmlformats.org/officeDocument/2006/relationships/tags" Target="../tags/tag23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27.xml"/><Relationship Id="rId18" Type="http://schemas.openxmlformats.org/officeDocument/2006/relationships/tags" Target="../tags/tag139.xml"/><Relationship Id="rId26" Type="http://schemas.openxmlformats.org/officeDocument/2006/relationships/tags" Target="../tags/tag147.xml"/><Relationship Id="rId39" Type="http://schemas.openxmlformats.org/officeDocument/2006/relationships/tags" Target="../tags/tag160.xml"/><Relationship Id="rId21" Type="http://schemas.openxmlformats.org/officeDocument/2006/relationships/tags" Target="../tags/tag142.xml"/><Relationship Id="rId34" Type="http://schemas.openxmlformats.org/officeDocument/2006/relationships/tags" Target="../tags/tag155.xml"/><Relationship Id="rId7" Type="http://schemas.openxmlformats.org/officeDocument/2006/relationships/slideLayout" Target="../slideLayouts/slideLayout21.xml"/><Relationship Id="rId2" Type="http://schemas.openxmlformats.org/officeDocument/2006/relationships/slideLayout" Target="../slideLayouts/slideLayout16.xml"/><Relationship Id="rId16" Type="http://schemas.openxmlformats.org/officeDocument/2006/relationships/vmlDrawing" Target="../drawings/vmlDrawing10.vml"/><Relationship Id="rId20" Type="http://schemas.openxmlformats.org/officeDocument/2006/relationships/tags" Target="../tags/tag141.xml"/><Relationship Id="rId29" Type="http://schemas.openxmlformats.org/officeDocument/2006/relationships/tags" Target="../tags/tag150.xml"/><Relationship Id="rId41" Type="http://schemas.openxmlformats.org/officeDocument/2006/relationships/image" Target="../media/image2.emf"/><Relationship Id="rId1" Type="http://schemas.openxmlformats.org/officeDocument/2006/relationships/slideLayout" Target="../slideLayouts/slideLayout15.xml"/><Relationship Id="rId6" Type="http://schemas.openxmlformats.org/officeDocument/2006/relationships/slideLayout" Target="../slideLayouts/slideLayout20.xml"/><Relationship Id="rId11" Type="http://schemas.openxmlformats.org/officeDocument/2006/relationships/slideLayout" Target="../slideLayouts/slideLayout25.xml"/><Relationship Id="rId24" Type="http://schemas.openxmlformats.org/officeDocument/2006/relationships/tags" Target="../tags/tag145.xml"/><Relationship Id="rId32" Type="http://schemas.openxmlformats.org/officeDocument/2006/relationships/tags" Target="../tags/tag153.xml"/><Relationship Id="rId37" Type="http://schemas.openxmlformats.org/officeDocument/2006/relationships/tags" Target="../tags/tag158.xml"/><Relationship Id="rId40" Type="http://schemas.openxmlformats.org/officeDocument/2006/relationships/oleObject" Target="../embeddings/oleObject10.bin"/><Relationship Id="rId5" Type="http://schemas.openxmlformats.org/officeDocument/2006/relationships/slideLayout" Target="../slideLayouts/slideLayout19.xml"/><Relationship Id="rId15" Type="http://schemas.openxmlformats.org/officeDocument/2006/relationships/theme" Target="../theme/theme2.xml"/><Relationship Id="rId23" Type="http://schemas.openxmlformats.org/officeDocument/2006/relationships/tags" Target="../tags/tag144.xml"/><Relationship Id="rId28" Type="http://schemas.openxmlformats.org/officeDocument/2006/relationships/tags" Target="../tags/tag149.xml"/><Relationship Id="rId36" Type="http://schemas.openxmlformats.org/officeDocument/2006/relationships/tags" Target="../tags/tag157.xml"/><Relationship Id="rId10" Type="http://schemas.openxmlformats.org/officeDocument/2006/relationships/slideLayout" Target="../slideLayouts/slideLayout24.xml"/><Relationship Id="rId19" Type="http://schemas.openxmlformats.org/officeDocument/2006/relationships/tags" Target="../tags/tag140.xml"/><Relationship Id="rId31" Type="http://schemas.openxmlformats.org/officeDocument/2006/relationships/tags" Target="../tags/tag152.xml"/><Relationship Id="rId4" Type="http://schemas.openxmlformats.org/officeDocument/2006/relationships/slideLayout" Target="../slideLayouts/slideLayout18.xml"/><Relationship Id="rId9" Type="http://schemas.openxmlformats.org/officeDocument/2006/relationships/slideLayout" Target="../slideLayouts/slideLayout23.xml"/><Relationship Id="rId14" Type="http://schemas.openxmlformats.org/officeDocument/2006/relationships/slideLayout" Target="../slideLayouts/slideLayout28.xml"/><Relationship Id="rId22" Type="http://schemas.openxmlformats.org/officeDocument/2006/relationships/tags" Target="../tags/tag143.xml"/><Relationship Id="rId27" Type="http://schemas.openxmlformats.org/officeDocument/2006/relationships/tags" Target="../tags/tag148.xml"/><Relationship Id="rId30" Type="http://schemas.openxmlformats.org/officeDocument/2006/relationships/tags" Target="../tags/tag151.xml"/><Relationship Id="rId35" Type="http://schemas.openxmlformats.org/officeDocument/2006/relationships/tags" Target="../tags/tag156.xml"/><Relationship Id="rId8" Type="http://schemas.openxmlformats.org/officeDocument/2006/relationships/slideLayout" Target="../slideLayouts/slideLayout22.xml"/><Relationship Id="rId3" Type="http://schemas.openxmlformats.org/officeDocument/2006/relationships/slideLayout" Target="../slideLayouts/slideLayout17.xml"/><Relationship Id="rId12" Type="http://schemas.openxmlformats.org/officeDocument/2006/relationships/slideLayout" Target="../slideLayouts/slideLayout26.xml"/><Relationship Id="rId17" Type="http://schemas.openxmlformats.org/officeDocument/2006/relationships/tags" Target="../tags/tag138.xml"/><Relationship Id="rId25" Type="http://schemas.openxmlformats.org/officeDocument/2006/relationships/tags" Target="../tags/tag146.xml"/><Relationship Id="rId33" Type="http://schemas.openxmlformats.org/officeDocument/2006/relationships/tags" Target="../tags/tag154.xml"/><Relationship Id="rId38" Type="http://schemas.openxmlformats.org/officeDocument/2006/relationships/tags" Target="../tags/tag15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BC40847-AF8B-4097-9A07-2349A751A05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33738984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455" name="think-cell Slide" r:id="rId40" imgW="413" imgH="416" progId="TCLayout.ActiveDocument.1">
                  <p:embed/>
                </p:oleObj>
              </mc:Choice>
              <mc:Fallback>
                <p:oleObj name="think-cell Slide" r:id="rId40" imgW="413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A194173E-7BB3-47F4-8EAD-18BFC563F97A}"/>
              </a:ext>
            </a:extLst>
          </p:cNvPr>
          <p:cNvSpPr/>
          <p:nvPr userDrawn="1">
            <p:custDataLst>
              <p:tags r:id="rId18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03" name="SlideLogoText" hidden="1">
            <a:extLst>
              <a:ext uri="{FF2B5EF4-FFF2-40B4-BE49-F238E27FC236}">
                <a16:creationId xmlns:a16="http://schemas.microsoft.com/office/drawing/2014/main" id="{69FC0062-74AE-4BDA-ACE7-D069B448DDBC}"/>
              </a:ext>
            </a:extLst>
          </p:cNvPr>
          <p:cNvSpPr txBox="1"/>
          <p:nvPr userDrawn="1">
            <p:custDataLst>
              <p:tags r:id="rId19"/>
            </p:custDataLst>
          </p:nvPr>
        </p:nvSpPr>
        <p:spPr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cxnSp>
        <p:nvCxnSpPr>
          <p:cNvPr id="106" name="BottomLine">
            <a:extLst>
              <a:ext uri="{FF2B5EF4-FFF2-40B4-BE49-F238E27FC236}">
                <a16:creationId xmlns:a16="http://schemas.microsoft.com/office/drawing/2014/main" id="{8B868434-776E-46FC-90D6-2CC6F63A9A51}"/>
              </a:ext>
            </a:extLst>
          </p:cNvPr>
          <p:cNvCxnSpPr/>
          <p:nvPr userDrawn="1">
            <p:custDataLst>
              <p:tags r:id="rId20"/>
            </p:custDataLst>
          </p:nvPr>
        </p:nvCxnSpPr>
        <p:spPr>
          <a:xfrm>
            <a:off x="554736" y="6453769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">
            <a:extLst>
              <a:ext uri="{FF2B5EF4-FFF2-40B4-BE49-F238E27FC236}">
                <a16:creationId xmlns:a16="http://schemas.microsoft.com/office/drawing/2014/main" id="{00E8CD27-C104-4563-9322-C0A2ABFCB5E3}"/>
              </a:ext>
            </a:extLst>
          </p:cNvPr>
          <p:cNvCxnSpPr/>
          <p:nvPr userDrawn="1">
            <p:custDataLst>
              <p:tags r:id="rId21"/>
            </p:custDataLst>
          </p:nvPr>
        </p:nvCxnSpPr>
        <p:spPr>
          <a:xfrm>
            <a:off x="554736" y="1181906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4. Footnote" hidden="1">
            <a:extLst>
              <a:ext uri="{FF2B5EF4-FFF2-40B4-BE49-F238E27FC236}">
                <a16:creationId xmlns:a16="http://schemas.microsoft.com/office/drawing/2014/main" id="{772E4927-517C-4D61-9929-9FFDE5F31A03}"/>
              </a:ext>
            </a:extLst>
          </p:cNvPr>
          <p:cNvSpPr txBox="1"/>
          <p:nvPr userDrawn="1">
            <p:custDataLst>
              <p:tags r:id="rId22"/>
            </p:custDataLst>
          </p:nvPr>
        </p:nvSpPr>
        <p:spPr>
          <a:xfrm>
            <a:off x="553972" y="6279028"/>
            <a:ext cx="7278624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1200" dirty="0">
                <a:latin typeface="+mn-lt"/>
                <a:ea typeface="+mn-ea"/>
                <a:cs typeface="Arial" panose="020B0604020202020204" pitchFamily="34" charset="0"/>
              </a:rPr>
              <a:t>Footnotes</a:t>
            </a:r>
          </a:p>
        </p:txBody>
      </p:sp>
      <p:sp>
        <p:nvSpPr>
          <p:cNvPr id="57" name="2. Slide Title">
            <a:extLst>
              <a:ext uri="{FF2B5EF4-FFF2-40B4-BE49-F238E27FC236}">
                <a16:creationId xmlns:a16="http://schemas.microsoft.com/office/drawing/2014/main" id="{98FF70AE-7EF6-4E5B-9FFE-B44C852C9FBA}"/>
              </a:ext>
            </a:extLst>
          </p:cNvPr>
          <p:cNvSpPr>
            <a:spLocks noGrp="1"/>
          </p:cNvSpPr>
          <p:nvPr>
            <p:ph type="title"/>
            <p:custDataLst>
              <p:tags r:id="rId23"/>
            </p:custDataLst>
          </p:nvPr>
        </p:nvSpPr>
        <p:spPr>
          <a:xfrm>
            <a:off x="554736" y="172212"/>
            <a:ext cx="11082528" cy="73152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8" name="Text Placeholder 2">
            <a:extLst>
              <a:ext uri="{FF2B5EF4-FFF2-40B4-BE49-F238E27FC236}">
                <a16:creationId xmlns:a16="http://schemas.microsoft.com/office/drawing/2014/main" id="{192DB789-515B-4504-BE53-6445F242768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4736" y="2171700"/>
            <a:ext cx="11082528" cy="252376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grpSp>
        <p:nvGrpSpPr>
          <p:cNvPr id="59" name="Grid" hidden="1">
            <a:extLst>
              <a:ext uri="{FF2B5EF4-FFF2-40B4-BE49-F238E27FC236}">
                <a16:creationId xmlns:a16="http://schemas.microsoft.com/office/drawing/2014/main" id="{D35250B8-D61E-4F1A-9ACD-6E1BB958B78E}"/>
              </a:ext>
            </a:extLst>
          </p:cNvPr>
          <p:cNvGrpSpPr/>
          <p:nvPr userDrawn="1">
            <p:custDataLst>
              <p:tags r:id="rId24"/>
            </p:custDataLst>
          </p:nvPr>
        </p:nvGrpSpPr>
        <p:grpSpPr>
          <a:xfrm>
            <a:off x="0" y="0"/>
            <a:ext cx="12190476" cy="6858000"/>
            <a:chOff x="0" y="0"/>
            <a:chExt cx="12190476" cy="6858000"/>
          </a:xfrm>
        </p:grpSpPr>
        <p:sp>
          <p:nvSpPr>
            <p:cNvPr id="60" name="slide margin">
              <a:extLst>
                <a:ext uri="{FF2B5EF4-FFF2-40B4-BE49-F238E27FC236}">
                  <a16:creationId xmlns:a16="http://schemas.microsoft.com/office/drawing/2014/main" id="{B96EBE04-E01D-4922-8601-F1AD43DC4DA0}"/>
                </a:ext>
              </a:extLst>
            </p:cNvPr>
            <p:cNvSpPr/>
            <p:nvPr/>
          </p:nvSpPr>
          <p:spPr bwMode="invGray">
            <a:xfrm>
              <a:off x="1524" y="0"/>
              <a:ext cx="12188952" cy="6858000"/>
            </a:xfrm>
            <a:custGeom>
              <a:avLst/>
              <a:gdLst>
                <a:gd name="connsiteX0" fmla="*/ 551868 w 12188952"/>
                <a:gd name="connsiteY0" fmla="*/ 1709928 h 6858000"/>
                <a:gd name="connsiteX1" fmla="*/ 551868 w 12188952"/>
                <a:gd name="connsiteY1" fmla="*/ 6217920 h 6858000"/>
                <a:gd name="connsiteX2" fmla="*/ 11636196 w 12188952"/>
                <a:gd name="connsiteY2" fmla="*/ 6217920 h 6858000"/>
                <a:gd name="connsiteX3" fmla="*/ 11636196 w 12188952"/>
                <a:gd name="connsiteY3" fmla="*/ 1709928 h 6858000"/>
                <a:gd name="connsiteX4" fmla="*/ 0 w 12188952"/>
                <a:gd name="connsiteY4" fmla="*/ 0 h 6858000"/>
                <a:gd name="connsiteX5" fmla="*/ 12188952 w 12188952"/>
                <a:gd name="connsiteY5" fmla="*/ 0 h 6858000"/>
                <a:gd name="connsiteX6" fmla="*/ 12188952 w 12188952"/>
                <a:gd name="connsiteY6" fmla="*/ 6858000 h 6858000"/>
                <a:gd name="connsiteX7" fmla="*/ 0 w 12188952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88952" h="6858000">
                  <a:moveTo>
                    <a:pt x="551868" y="1709928"/>
                  </a:moveTo>
                  <a:lnTo>
                    <a:pt x="551868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US" err="1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5CA037B0-2A91-4357-A969-80F65F949266}"/>
                </a:ext>
              </a:extLst>
            </p:cNvPr>
            <p:cNvCxnSpPr/>
            <p:nvPr/>
          </p:nvCxnSpPr>
          <p:spPr bwMode="inv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E1BD7C67-EF90-4AA0-BA50-51299E7EEE4C}"/>
                </a:ext>
              </a:extLst>
            </p:cNvPr>
            <p:cNvCxnSpPr/>
            <p:nvPr/>
          </p:nvCxnSpPr>
          <p:spPr bwMode="inv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7719564A-5227-44A7-ABC0-4C6BBC1E2D6F}"/>
                </a:ext>
              </a:extLst>
            </p:cNvPr>
            <p:cNvCxnSpPr/>
            <p:nvPr/>
          </p:nvCxnSpPr>
          <p:spPr bwMode="inv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0FD85D0C-74E8-4603-86B8-FCC481122CE8}"/>
                </a:ext>
              </a:extLst>
            </p:cNvPr>
            <p:cNvCxnSpPr/>
            <p:nvPr/>
          </p:nvCxnSpPr>
          <p:spPr bwMode="inv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7F8BF8BD-68B4-4717-8162-382FFCC9BC9A}"/>
                </a:ext>
              </a:extLst>
            </p:cNvPr>
            <p:cNvCxnSpPr/>
            <p:nvPr/>
          </p:nvCxnSpPr>
          <p:spPr bwMode="inv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89DB0B65-FCD8-4DD7-833A-DEED6A420E2A}"/>
                </a:ext>
              </a:extLst>
            </p:cNvPr>
            <p:cNvCxnSpPr/>
            <p:nvPr/>
          </p:nvCxnSpPr>
          <p:spPr bwMode="inv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E18151F3-D51F-4302-95BF-AE8E806F628D}"/>
                </a:ext>
              </a:extLst>
            </p:cNvPr>
            <p:cNvCxnSpPr/>
            <p:nvPr/>
          </p:nvCxnSpPr>
          <p:spPr bwMode="inv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35A6B330-5ACC-486B-8131-B7F5407825B2}"/>
                </a:ext>
              </a:extLst>
            </p:cNvPr>
            <p:cNvCxnSpPr/>
            <p:nvPr/>
          </p:nvCxnSpPr>
          <p:spPr bwMode="inv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DA5DE7AD-CCFE-4A85-9421-C7CEA9F80DEC}"/>
                </a:ext>
              </a:extLst>
            </p:cNvPr>
            <p:cNvCxnSpPr/>
            <p:nvPr/>
          </p:nvCxnSpPr>
          <p:spPr bwMode="inv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id="{6E2A9A81-75D1-41A9-9821-54FC36E753C1}"/>
                </a:ext>
              </a:extLst>
            </p:cNvPr>
            <p:cNvCxnSpPr/>
            <p:nvPr/>
          </p:nvCxnSpPr>
          <p:spPr bwMode="inv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id="{86FE52AA-2DD1-4D00-A984-41CDC38B2D7F}"/>
                </a:ext>
              </a:extLst>
            </p:cNvPr>
            <p:cNvCxnSpPr/>
            <p:nvPr/>
          </p:nvCxnSpPr>
          <p:spPr bwMode="inv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>
              <a:extLst>
                <a:ext uri="{FF2B5EF4-FFF2-40B4-BE49-F238E27FC236}">
                  <a16:creationId xmlns:a16="http://schemas.microsoft.com/office/drawing/2014/main" id="{85C9FC50-7177-43E6-9E56-DC9A2E6B7E6E}"/>
                </a:ext>
              </a:extLst>
            </p:cNvPr>
            <p:cNvCxnSpPr/>
            <p:nvPr/>
          </p:nvCxnSpPr>
          <p:spPr bwMode="inv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BC97F85A-62E2-4591-B8D0-4F068B177B5D}"/>
                </a:ext>
              </a:extLst>
            </p:cNvPr>
            <p:cNvSpPr/>
            <p:nvPr/>
          </p:nvSpPr>
          <p:spPr bwMode="inv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7F4B967A-CF91-473D-8A35-2BE771F9F590}"/>
                </a:ext>
              </a:extLst>
            </p:cNvPr>
            <p:cNvSpPr/>
            <p:nvPr/>
          </p:nvSpPr>
          <p:spPr bwMode="inv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5AC41621-77EA-4492-8E68-0BE34108294A}"/>
                </a:ext>
              </a:extLst>
            </p:cNvPr>
            <p:cNvSpPr/>
            <p:nvPr/>
          </p:nvSpPr>
          <p:spPr bwMode="inv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31A06AD2-A9EA-45D9-B15C-089884A54107}"/>
                </a:ext>
              </a:extLst>
            </p:cNvPr>
            <p:cNvSpPr/>
            <p:nvPr/>
          </p:nvSpPr>
          <p:spPr bwMode="inv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3A7B39CC-379F-4224-9E59-81B1690088A0}"/>
                </a:ext>
              </a:extLst>
            </p:cNvPr>
            <p:cNvSpPr/>
            <p:nvPr/>
          </p:nvSpPr>
          <p:spPr bwMode="inv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F8002ACB-1459-4214-B28A-B38E8A1FF8A6}"/>
                </a:ext>
              </a:extLst>
            </p:cNvPr>
            <p:cNvSpPr/>
            <p:nvPr/>
          </p:nvSpPr>
          <p:spPr bwMode="inv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71D59E94-AA3C-4DE0-8345-20C71667A205}"/>
                </a:ext>
              </a:extLst>
            </p:cNvPr>
            <p:cNvSpPr/>
            <p:nvPr/>
          </p:nvSpPr>
          <p:spPr bwMode="inv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5805F09B-786C-43E4-8288-B1AAF94C8ADE}"/>
                </a:ext>
              </a:extLst>
            </p:cNvPr>
            <p:cNvSpPr/>
            <p:nvPr/>
          </p:nvSpPr>
          <p:spPr bwMode="inv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5FB23B6E-567C-4896-8B32-DA4C452B4AE7}"/>
                </a:ext>
              </a:extLst>
            </p:cNvPr>
            <p:cNvSpPr/>
            <p:nvPr/>
          </p:nvSpPr>
          <p:spPr bwMode="inv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9B792231-972E-4476-BAF2-761E10463BA8}"/>
                </a:ext>
              </a:extLst>
            </p:cNvPr>
            <p:cNvSpPr/>
            <p:nvPr/>
          </p:nvSpPr>
          <p:spPr bwMode="inv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908370B7-3D11-4F78-B977-D8F0DE2694ED}"/>
                </a:ext>
              </a:extLst>
            </p:cNvPr>
            <p:cNvSpPr/>
            <p:nvPr/>
          </p:nvSpPr>
          <p:spPr bwMode="inv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C11EA99D-D15D-43C2-BF4E-36554B346AB6}"/>
                </a:ext>
              </a:extLst>
            </p:cNvPr>
            <p:cNvSpPr/>
            <p:nvPr/>
          </p:nvSpPr>
          <p:spPr bwMode="inv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3A72B2F6-0AFF-4E6E-AFFF-60767DB3FA63}"/>
                </a:ext>
              </a:extLst>
            </p:cNvPr>
            <p:cNvSpPr/>
            <p:nvPr/>
          </p:nvSpPr>
          <p:spPr bwMode="inv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A68F8E74-3AE4-4AF9-9F36-63344C9076D2}"/>
                </a:ext>
              </a:extLst>
            </p:cNvPr>
            <p:cNvSpPr/>
            <p:nvPr/>
          </p:nvSpPr>
          <p:spPr bwMode="inv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31D5F169-E1D4-48A3-AE5B-F5F1BEF2E7CF}"/>
                </a:ext>
              </a:extLst>
            </p:cNvPr>
            <p:cNvSpPr/>
            <p:nvPr userDrawn="1"/>
          </p:nvSpPr>
          <p:spPr bwMode="inv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4230F928-F9B2-4955-9800-74DE09DCE6F2}"/>
                </a:ext>
              </a:extLst>
            </p:cNvPr>
            <p:cNvSpPr/>
            <p:nvPr userDrawn="1"/>
          </p:nvSpPr>
          <p:spPr bwMode="inv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37C829A9-6808-4531-8C12-A84988E6DEE1}"/>
                </a:ext>
              </a:extLst>
            </p:cNvPr>
            <p:cNvSpPr/>
            <p:nvPr userDrawn="1"/>
          </p:nvSpPr>
          <p:spPr bwMode="inv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7FA5964C-E9C5-4C2F-BD6E-47BAFB5B6D17}"/>
                </a:ext>
              </a:extLst>
            </p:cNvPr>
            <p:cNvSpPr/>
            <p:nvPr userDrawn="1"/>
          </p:nvSpPr>
          <p:spPr bwMode="inv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3C168D8D-76CE-4BE5-BE95-79B96300EA3F}"/>
                </a:ext>
              </a:extLst>
            </p:cNvPr>
            <p:cNvSpPr/>
            <p:nvPr userDrawn="1"/>
          </p:nvSpPr>
          <p:spPr bwMode="inv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6749465C-813A-45F9-8C3E-5D06C8584929}"/>
                </a:ext>
              </a:extLst>
            </p:cNvPr>
            <p:cNvSpPr/>
            <p:nvPr userDrawn="1"/>
          </p:nvSpPr>
          <p:spPr bwMode="inv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53894C26-2473-4C24-B082-48DD1E92241C}"/>
                </a:ext>
              </a:extLst>
            </p:cNvPr>
            <p:cNvSpPr/>
            <p:nvPr userDrawn="1"/>
          </p:nvSpPr>
          <p:spPr bwMode="inv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4" name="Freeform: Shape 93">
              <a:extLst>
                <a:ext uri="{FF2B5EF4-FFF2-40B4-BE49-F238E27FC236}">
                  <a16:creationId xmlns:a16="http://schemas.microsoft.com/office/drawing/2014/main" id="{BFDA0320-8435-46CA-B1B3-5203F54A419F}"/>
                </a:ext>
              </a:extLst>
            </p:cNvPr>
            <p:cNvSpPr/>
            <p:nvPr userDrawn="1"/>
          </p:nvSpPr>
          <p:spPr bwMode="inv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id="{A42721E4-5D12-459C-AC2E-7CE148AF9062}"/>
                </a:ext>
              </a:extLst>
            </p:cNvPr>
            <p:cNvSpPr/>
            <p:nvPr userDrawn="1"/>
          </p:nvSpPr>
          <p:spPr bwMode="inv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:a16="http://schemas.microsoft.com/office/drawing/2014/main" id="{8BF7D46B-3779-49D0-BCB4-F2DCE091958D}"/>
                </a:ext>
              </a:extLst>
            </p:cNvPr>
            <p:cNvSpPr/>
            <p:nvPr userDrawn="1"/>
          </p:nvSpPr>
          <p:spPr bwMode="inv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:a16="http://schemas.microsoft.com/office/drawing/2014/main" id="{634464F0-BD7F-4488-85F0-EC20C24BECAA}"/>
                </a:ext>
              </a:extLst>
            </p:cNvPr>
            <p:cNvSpPr/>
            <p:nvPr userDrawn="1"/>
          </p:nvSpPr>
          <p:spPr bwMode="inv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82B54541-0CDD-4724-8101-AABFF1207033}"/>
                </a:ext>
              </a:extLst>
            </p:cNvPr>
            <p:cNvCxnSpPr/>
            <p:nvPr userDrawn="1"/>
          </p:nvCxnSpPr>
          <p:spPr bwMode="inv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45070398-8D55-4EE2-8CA4-47428E2AF03F}"/>
                </a:ext>
              </a:extLst>
            </p:cNvPr>
            <p:cNvCxnSpPr/>
            <p:nvPr userDrawn="1"/>
          </p:nvCxnSpPr>
          <p:spPr bwMode="inv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42166891-56D0-4EBC-B681-501401DEF9D4}"/>
                </a:ext>
              </a:extLst>
            </p:cNvPr>
            <p:cNvCxnSpPr/>
            <p:nvPr userDrawn="1"/>
          </p:nvCxnSpPr>
          <p:spPr bwMode="inv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C13A87E3-D106-41FF-A8CD-C27DABF0103D}"/>
                </a:ext>
              </a:extLst>
            </p:cNvPr>
            <p:cNvCxnSpPr/>
            <p:nvPr userDrawn="1"/>
          </p:nvCxnSpPr>
          <p:spPr bwMode="inv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2164477D-838D-4C70-ADD7-37AD79A844AA}"/>
                </a:ext>
              </a:extLst>
            </p:cNvPr>
            <p:cNvCxnSpPr/>
            <p:nvPr userDrawn="1"/>
          </p:nvCxnSpPr>
          <p:spPr bwMode="inv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72B193C0-8980-4BB2-8E91-7A1C9ABE0B6C}"/>
                </a:ext>
              </a:extLst>
            </p:cNvPr>
            <p:cNvCxnSpPr/>
            <p:nvPr userDrawn="1"/>
          </p:nvCxnSpPr>
          <p:spPr bwMode="inv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C1A94AAA-1D98-4233-842E-2A2F52812358}"/>
                </a:ext>
              </a:extLst>
            </p:cNvPr>
            <p:cNvCxnSpPr/>
            <p:nvPr userDrawn="1"/>
          </p:nvCxnSpPr>
          <p:spPr bwMode="inv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E21F2B43-A2DC-42F4-8EA4-A8A4DA6D6FA7}"/>
                </a:ext>
              </a:extLst>
            </p:cNvPr>
            <p:cNvCxnSpPr/>
            <p:nvPr userDrawn="1"/>
          </p:nvCxnSpPr>
          <p:spPr bwMode="inv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A60F0923-6896-405D-AD16-F097448F3E3D}"/>
                </a:ext>
              </a:extLst>
            </p:cNvPr>
            <p:cNvCxnSpPr/>
            <p:nvPr userDrawn="1"/>
          </p:nvCxnSpPr>
          <p:spPr bwMode="inv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BC70D5B1-47D7-451F-B83A-973A26731A22}"/>
                </a:ext>
              </a:extLst>
            </p:cNvPr>
            <p:cNvCxnSpPr/>
            <p:nvPr userDrawn="1"/>
          </p:nvCxnSpPr>
          <p:spPr bwMode="inv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3FD9A464-81FE-4829-A1C5-5CCEE42448B3}"/>
                </a:ext>
              </a:extLst>
            </p:cNvPr>
            <p:cNvCxnSpPr/>
            <p:nvPr userDrawn="1"/>
          </p:nvCxnSpPr>
          <p:spPr bwMode="inv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8F55CAB0-53A2-417F-9F66-C0437933E98B}"/>
                </a:ext>
              </a:extLst>
            </p:cNvPr>
            <p:cNvCxnSpPr/>
            <p:nvPr userDrawn="1"/>
          </p:nvCxnSpPr>
          <p:spPr bwMode="inv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1547EE77-7495-47CB-BEC9-D5C742DF2B2C}"/>
                </a:ext>
              </a:extLst>
            </p:cNvPr>
            <p:cNvCxnSpPr/>
            <p:nvPr userDrawn="1"/>
          </p:nvCxnSpPr>
          <p:spPr bwMode="inv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id="{CA942184-696A-4A78-BB9D-3D619B990987}"/>
                </a:ext>
              </a:extLst>
            </p:cNvPr>
            <p:cNvCxnSpPr/>
            <p:nvPr userDrawn="1"/>
          </p:nvCxnSpPr>
          <p:spPr bwMode="inv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id="{1B5F4EE6-4D4C-4488-80DE-36C83D540765}"/>
                </a:ext>
              </a:extLst>
            </p:cNvPr>
            <p:cNvCxnSpPr/>
            <p:nvPr userDrawn="1"/>
          </p:nvCxnSpPr>
          <p:spPr bwMode="inv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id="{CD3A42E3-1ED2-4BBE-8B0B-CEA491522F0A}"/>
                </a:ext>
              </a:extLst>
            </p:cNvPr>
            <p:cNvCxnSpPr/>
            <p:nvPr userDrawn="1"/>
          </p:nvCxnSpPr>
          <p:spPr bwMode="inv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id="{94162AD8-9037-4220-B19F-7B3A0F44E941}"/>
                </a:ext>
              </a:extLst>
            </p:cNvPr>
            <p:cNvCxnSpPr/>
            <p:nvPr userDrawn="1"/>
          </p:nvCxnSpPr>
          <p:spPr bwMode="inv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4C20FB70-03E4-4D7E-BA41-546EAAB33089}"/>
                </a:ext>
              </a:extLst>
            </p:cNvPr>
            <p:cNvCxnSpPr/>
            <p:nvPr userDrawn="1"/>
          </p:nvCxnSpPr>
          <p:spPr bwMode="inv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A84D3C92-FDAE-47DB-9457-A9B216922E98}"/>
                </a:ext>
              </a:extLst>
            </p:cNvPr>
            <p:cNvCxnSpPr/>
            <p:nvPr userDrawn="1"/>
          </p:nvCxnSpPr>
          <p:spPr bwMode="inv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id="{B5DF0860-265F-4ABC-9F65-0C1D385DAA19}"/>
                </a:ext>
              </a:extLst>
            </p:cNvPr>
            <p:cNvCxnSpPr/>
            <p:nvPr userDrawn="1"/>
          </p:nvCxnSpPr>
          <p:spPr bwMode="inv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id="{D878D1D5-E6E5-4FA6-AF6E-95E8AF796777}"/>
                </a:ext>
              </a:extLst>
            </p:cNvPr>
            <p:cNvCxnSpPr/>
            <p:nvPr userDrawn="1"/>
          </p:nvCxnSpPr>
          <p:spPr bwMode="inv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id="{E11FF29A-4B39-4335-9BD5-ED902309BF79}"/>
                </a:ext>
              </a:extLst>
            </p:cNvPr>
            <p:cNvCxnSpPr/>
            <p:nvPr userDrawn="1"/>
          </p:nvCxnSpPr>
          <p:spPr bwMode="inv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id="{3A82A803-5E70-4523-9F20-67F308765C7E}"/>
                </a:ext>
              </a:extLst>
            </p:cNvPr>
            <p:cNvCxnSpPr/>
            <p:nvPr userDrawn="1"/>
          </p:nvCxnSpPr>
          <p:spPr bwMode="inv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id="{B4208CB2-5882-4416-87C9-284BDAF3367A}"/>
                </a:ext>
              </a:extLst>
            </p:cNvPr>
            <p:cNvCxnSpPr/>
            <p:nvPr userDrawn="1"/>
          </p:nvCxnSpPr>
          <p:spPr bwMode="inv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id="{BD4116CD-6422-4E26-9703-D3F7C10FCD56}"/>
                </a:ext>
              </a:extLst>
            </p:cNvPr>
            <p:cNvCxnSpPr/>
            <p:nvPr userDrawn="1"/>
          </p:nvCxnSpPr>
          <p:spPr bwMode="inv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id="{31AB3A35-E2FF-4178-896B-F08E77092825}"/>
                </a:ext>
              </a:extLst>
            </p:cNvPr>
            <p:cNvCxnSpPr/>
            <p:nvPr userDrawn="1"/>
          </p:nvCxnSpPr>
          <p:spPr bwMode="inv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id="{2179C539-DD6F-48AA-8F80-27BC682014AF}"/>
                </a:ext>
              </a:extLst>
            </p:cNvPr>
            <p:cNvCxnSpPr/>
            <p:nvPr userDrawn="1"/>
          </p:nvCxnSpPr>
          <p:spPr bwMode="inv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id="{2784004E-3271-4D1C-B1EA-CA1E334E0D03}"/>
                </a:ext>
              </a:extLst>
            </p:cNvPr>
            <p:cNvCxnSpPr/>
            <p:nvPr userDrawn="1"/>
          </p:nvCxnSpPr>
          <p:spPr bwMode="inv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id="{3657725E-FBF6-491D-9BA1-E6A9727F4F2D}"/>
                </a:ext>
              </a:extLst>
            </p:cNvPr>
            <p:cNvCxnSpPr/>
            <p:nvPr userDrawn="1"/>
          </p:nvCxnSpPr>
          <p:spPr bwMode="inv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id="{31244567-76A7-47AF-9353-403D05D533F0}"/>
                </a:ext>
              </a:extLst>
            </p:cNvPr>
            <p:cNvCxnSpPr/>
            <p:nvPr userDrawn="1"/>
          </p:nvCxnSpPr>
          <p:spPr bwMode="inv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id="{EEC47A2A-ED3B-4AD0-ACD5-F8ED92644229}"/>
                </a:ext>
              </a:extLst>
            </p:cNvPr>
            <p:cNvCxnSpPr/>
            <p:nvPr userDrawn="1"/>
          </p:nvCxnSpPr>
          <p:spPr bwMode="inv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id="{0F3E01E5-F569-4020-BCB0-083537701AB0}"/>
                </a:ext>
              </a:extLst>
            </p:cNvPr>
            <p:cNvCxnSpPr/>
            <p:nvPr userDrawn="1"/>
          </p:nvCxnSpPr>
          <p:spPr bwMode="inv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id="{71121A42-5912-44C8-B9A3-FDEC8EA70284}"/>
                </a:ext>
              </a:extLst>
            </p:cNvPr>
            <p:cNvCxnSpPr/>
            <p:nvPr userDrawn="1"/>
          </p:nvCxnSpPr>
          <p:spPr bwMode="inv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659B1DE7-25C8-4743-8284-FA656D339F55}"/>
                </a:ext>
              </a:extLst>
            </p:cNvPr>
            <p:cNvCxnSpPr/>
            <p:nvPr userDrawn="1"/>
          </p:nvCxnSpPr>
          <p:spPr bwMode="inv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id="{526249F1-59FB-44FC-8AF9-D7F90AFBEE2C}"/>
                </a:ext>
              </a:extLst>
            </p:cNvPr>
            <p:cNvCxnSpPr/>
            <p:nvPr userDrawn="1"/>
          </p:nvCxnSpPr>
          <p:spPr bwMode="inv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id="{E6D42779-D977-4405-A149-D8DE5B52134A}"/>
                </a:ext>
              </a:extLst>
            </p:cNvPr>
            <p:cNvCxnSpPr/>
            <p:nvPr userDrawn="1"/>
          </p:nvCxnSpPr>
          <p:spPr bwMode="inv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id="{27EE8A2F-6AD9-4AE7-B04B-7892891F84AC}"/>
                </a:ext>
              </a:extLst>
            </p:cNvPr>
            <p:cNvCxnSpPr/>
            <p:nvPr userDrawn="1"/>
          </p:nvCxnSpPr>
          <p:spPr bwMode="inv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id="{B8F4A59A-16C3-4C3A-AB79-FE22721EA641}"/>
                </a:ext>
              </a:extLst>
            </p:cNvPr>
            <p:cNvCxnSpPr/>
            <p:nvPr userDrawn="1"/>
          </p:nvCxnSpPr>
          <p:spPr bwMode="inv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id="{5CA3A6CC-1A49-42F6-A318-99D9224BDC91}"/>
                </a:ext>
              </a:extLst>
            </p:cNvPr>
            <p:cNvCxnSpPr/>
            <p:nvPr userDrawn="1"/>
          </p:nvCxnSpPr>
          <p:spPr bwMode="inv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id="{2DC3484E-5EF8-49C4-B1F6-75C854D50C80}"/>
                </a:ext>
              </a:extLst>
            </p:cNvPr>
            <p:cNvCxnSpPr/>
            <p:nvPr userDrawn="1"/>
          </p:nvCxnSpPr>
          <p:spPr bwMode="inv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1" name="Straight Connector 140">
              <a:extLst>
                <a:ext uri="{FF2B5EF4-FFF2-40B4-BE49-F238E27FC236}">
                  <a16:creationId xmlns:a16="http://schemas.microsoft.com/office/drawing/2014/main" id="{33461A54-E77E-414D-B7E0-7364070D9566}"/>
                </a:ext>
              </a:extLst>
            </p:cNvPr>
            <p:cNvCxnSpPr/>
            <p:nvPr userDrawn="1"/>
          </p:nvCxnSpPr>
          <p:spPr bwMode="inv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id="{29C48517-171B-43FD-A41C-58C9B531BDB5}"/>
                </a:ext>
              </a:extLst>
            </p:cNvPr>
            <p:cNvCxnSpPr/>
            <p:nvPr userDrawn="1"/>
          </p:nvCxnSpPr>
          <p:spPr bwMode="inv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id="{F429932A-1238-48FC-B171-20A3AA531D40}"/>
                </a:ext>
              </a:extLst>
            </p:cNvPr>
            <p:cNvCxnSpPr/>
            <p:nvPr userDrawn="1"/>
          </p:nvCxnSpPr>
          <p:spPr bwMode="inv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4" name="Straight Connector 143">
              <a:extLst>
                <a:ext uri="{FF2B5EF4-FFF2-40B4-BE49-F238E27FC236}">
                  <a16:creationId xmlns:a16="http://schemas.microsoft.com/office/drawing/2014/main" id="{7BED7651-AF04-41D4-9476-5A43476D85BB}"/>
                </a:ext>
              </a:extLst>
            </p:cNvPr>
            <p:cNvCxnSpPr/>
            <p:nvPr userDrawn="1"/>
          </p:nvCxnSpPr>
          <p:spPr bwMode="inv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5" name="main body box">
              <a:extLst>
                <a:ext uri="{FF2B5EF4-FFF2-40B4-BE49-F238E27FC236}">
                  <a16:creationId xmlns:a16="http://schemas.microsoft.com/office/drawing/2014/main" id="{100DE417-9DB9-4840-8370-B716FFA27760}"/>
                </a:ext>
              </a:extLst>
            </p:cNvPr>
            <p:cNvSpPr/>
            <p:nvPr userDrawn="1"/>
          </p:nvSpPr>
          <p:spPr bwMode="invGray">
            <a:xfrm>
              <a:off x="554736" y="1709928"/>
              <a:ext cx="11082528" cy="4507992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146" name="Straight Connector 145">
              <a:extLst>
                <a:ext uri="{FF2B5EF4-FFF2-40B4-BE49-F238E27FC236}">
                  <a16:creationId xmlns:a16="http://schemas.microsoft.com/office/drawing/2014/main" id="{B93A1E2B-8C80-482F-83BE-384344D09839}"/>
                </a:ext>
              </a:extLst>
            </p:cNvPr>
            <p:cNvCxnSpPr/>
            <p:nvPr userDrawn="1"/>
          </p:nvCxnSpPr>
          <p:spPr bwMode="invGray">
            <a:xfrm>
              <a:off x="554736" y="2177796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147" name="Straight Connector 146">
              <a:extLst>
                <a:ext uri="{FF2B5EF4-FFF2-40B4-BE49-F238E27FC236}">
                  <a16:creationId xmlns:a16="http://schemas.microsoft.com/office/drawing/2014/main" id="{BEAB22C5-0A46-4041-9158-6DC76EA2F350}"/>
                </a:ext>
              </a:extLst>
            </p:cNvPr>
            <p:cNvCxnSpPr/>
            <p:nvPr userDrawn="1"/>
          </p:nvCxnSpPr>
          <p:spPr bwMode="invGray">
            <a:xfrm>
              <a:off x="554736" y="1711453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grpSp>
        <p:nvGrpSpPr>
          <p:cNvPr id="187" name="LegendBoxes" hidden="1">
            <a:extLst>
              <a:ext uri="{FF2B5EF4-FFF2-40B4-BE49-F238E27FC236}">
                <a16:creationId xmlns:a16="http://schemas.microsoft.com/office/drawing/2014/main" id="{5048A9C9-0655-49B2-A283-6A54678F321B}"/>
              </a:ext>
            </a:extLst>
          </p:cNvPr>
          <p:cNvGrpSpPr/>
          <p:nvPr userDrawn="1"/>
        </p:nvGrpSpPr>
        <p:grpSpPr>
          <a:xfrm>
            <a:off x="10554770" y="4322824"/>
            <a:ext cx="984864" cy="1717282"/>
            <a:chOff x="9585951" y="2980105"/>
            <a:chExt cx="984864" cy="1717282"/>
          </a:xfrm>
        </p:grpSpPr>
        <p:sp>
          <p:nvSpPr>
            <p:cNvPr id="188" name="RectangleLegend1">
              <a:extLst>
                <a:ext uri="{FF2B5EF4-FFF2-40B4-BE49-F238E27FC236}">
                  <a16:creationId xmlns:a16="http://schemas.microsoft.com/office/drawing/2014/main" id="{8F219674-AEDF-41A7-B3C3-07BD8D165776}"/>
                </a:ext>
              </a:extLst>
            </p:cNvPr>
            <p:cNvSpPr/>
            <p:nvPr/>
          </p:nvSpPr>
          <p:spPr>
            <a:xfrm>
              <a:off x="9585951" y="3001463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89" name="RectangleLegend2">
              <a:extLst>
                <a:ext uri="{FF2B5EF4-FFF2-40B4-BE49-F238E27FC236}">
                  <a16:creationId xmlns:a16="http://schemas.microsoft.com/office/drawing/2014/main" id="{76884974-3CCD-4F11-B109-02708F18B04E}"/>
                </a:ext>
              </a:extLst>
            </p:cNvPr>
            <p:cNvSpPr/>
            <p:nvPr/>
          </p:nvSpPr>
          <p:spPr>
            <a:xfrm>
              <a:off x="9585951" y="3380961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90" name="RectangleLegend3">
              <a:extLst>
                <a:ext uri="{FF2B5EF4-FFF2-40B4-BE49-F238E27FC236}">
                  <a16:creationId xmlns:a16="http://schemas.microsoft.com/office/drawing/2014/main" id="{D440B2EC-6FE5-4259-BA11-DC2E3B68E637}"/>
                </a:ext>
              </a:extLst>
            </p:cNvPr>
            <p:cNvSpPr/>
            <p:nvPr/>
          </p:nvSpPr>
          <p:spPr>
            <a:xfrm>
              <a:off x="9585951" y="3754557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91" name="RectangleLegend4">
              <a:extLst>
                <a:ext uri="{FF2B5EF4-FFF2-40B4-BE49-F238E27FC236}">
                  <a16:creationId xmlns:a16="http://schemas.microsoft.com/office/drawing/2014/main" id="{52FE9D34-332E-47CD-94B8-12A069181C03}"/>
                </a:ext>
              </a:extLst>
            </p:cNvPr>
            <p:cNvSpPr/>
            <p:nvPr/>
          </p:nvSpPr>
          <p:spPr>
            <a:xfrm>
              <a:off x="9585951" y="4128153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92" name="RectangleLegend5">
              <a:extLst>
                <a:ext uri="{FF2B5EF4-FFF2-40B4-BE49-F238E27FC236}">
                  <a16:creationId xmlns:a16="http://schemas.microsoft.com/office/drawing/2014/main" id="{1D6EA8D9-42BE-4743-876B-1050D1436021}"/>
                </a:ext>
              </a:extLst>
            </p:cNvPr>
            <p:cNvSpPr/>
            <p:nvPr/>
          </p:nvSpPr>
          <p:spPr>
            <a:xfrm>
              <a:off x="9585951" y="4501749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93" name="Legend1">
              <a:extLst>
                <a:ext uri="{FF2B5EF4-FFF2-40B4-BE49-F238E27FC236}">
                  <a16:creationId xmlns:a16="http://schemas.microsoft.com/office/drawing/2014/main" id="{50F3208A-D1A9-4DEE-B968-1381D0DE88E8}"/>
                </a:ext>
              </a:extLst>
            </p:cNvPr>
            <p:cNvSpPr txBox="1"/>
            <p:nvPr/>
          </p:nvSpPr>
          <p:spPr>
            <a:xfrm>
              <a:off x="9912097" y="2980105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4" name="Legend2">
              <a:extLst>
                <a:ext uri="{FF2B5EF4-FFF2-40B4-BE49-F238E27FC236}">
                  <a16:creationId xmlns:a16="http://schemas.microsoft.com/office/drawing/2014/main" id="{69AC8C80-52E4-4497-A147-009E23FB42A5}"/>
                </a:ext>
              </a:extLst>
            </p:cNvPr>
            <p:cNvSpPr txBox="1"/>
            <p:nvPr/>
          </p:nvSpPr>
          <p:spPr>
            <a:xfrm>
              <a:off x="9912097" y="3359603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5" name="Legend3">
              <a:extLst>
                <a:ext uri="{FF2B5EF4-FFF2-40B4-BE49-F238E27FC236}">
                  <a16:creationId xmlns:a16="http://schemas.microsoft.com/office/drawing/2014/main" id="{218BEB5C-C19E-451D-B538-56A492CF74C6}"/>
                </a:ext>
              </a:extLst>
            </p:cNvPr>
            <p:cNvSpPr txBox="1"/>
            <p:nvPr/>
          </p:nvSpPr>
          <p:spPr>
            <a:xfrm>
              <a:off x="9912097" y="3739101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6" name="Legend4">
              <a:extLst>
                <a:ext uri="{FF2B5EF4-FFF2-40B4-BE49-F238E27FC236}">
                  <a16:creationId xmlns:a16="http://schemas.microsoft.com/office/drawing/2014/main" id="{B77C1590-32D9-4A52-8AF0-454D06E80BF2}"/>
                </a:ext>
              </a:extLst>
            </p:cNvPr>
            <p:cNvSpPr txBox="1"/>
            <p:nvPr/>
          </p:nvSpPr>
          <p:spPr>
            <a:xfrm>
              <a:off x="9912097" y="4110522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7" name="Legend5">
              <a:extLst>
                <a:ext uri="{FF2B5EF4-FFF2-40B4-BE49-F238E27FC236}">
                  <a16:creationId xmlns:a16="http://schemas.microsoft.com/office/drawing/2014/main" id="{A40A9DB6-E1B2-47A6-8B66-4FCDC31DD600}"/>
                </a:ext>
              </a:extLst>
            </p:cNvPr>
            <p:cNvSpPr txBox="1"/>
            <p:nvPr/>
          </p:nvSpPr>
          <p:spPr>
            <a:xfrm>
              <a:off x="9912097" y="4481943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</p:grpSp>
      <p:grpSp>
        <p:nvGrpSpPr>
          <p:cNvPr id="148" name="LegendMoons" hidden="1">
            <a:extLst>
              <a:ext uri="{FF2B5EF4-FFF2-40B4-BE49-F238E27FC236}">
                <a16:creationId xmlns:a16="http://schemas.microsoft.com/office/drawing/2014/main" id="{DDFB4BFF-188C-450D-B4D3-DF8BD2DB3D7F}"/>
              </a:ext>
            </a:extLst>
          </p:cNvPr>
          <p:cNvGrpSpPr/>
          <p:nvPr userDrawn="1"/>
        </p:nvGrpSpPr>
        <p:grpSpPr>
          <a:xfrm>
            <a:off x="7723680" y="1702457"/>
            <a:ext cx="1023616" cy="1731859"/>
            <a:chOff x="7723680" y="1702457"/>
            <a:chExt cx="1023616" cy="1731859"/>
          </a:xfrm>
        </p:grpSpPr>
        <p:sp>
          <p:nvSpPr>
            <p:cNvPr id="149" name="Legend1">
              <a:extLst>
                <a:ext uri="{FF2B5EF4-FFF2-40B4-BE49-F238E27FC236}">
                  <a16:creationId xmlns:a16="http://schemas.microsoft.com/office/drawing/2014/main" id="{66D8D147-F2B4-4250-9C41-767555E14320}"/>
                </a:ext>
              </a:extLst>
            </p:cNvPr>
            <p:cNvSpPr txBox="1"/>
            <p:nvPr/>
          </p:nvSpPr>
          <p:spPr>
            <a:xfrm>
              <a:off x="8076312" y="1709816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50" name="Legend2">
              <a:extLst>
                <a:ext uri="{FF2B5EF4-FFF2-40B4-BE49-F238E27FC236}">
                  <a16:creationId xmlns:a16="http://schemas.microsoft.com/office/drawing/2014/main" id="{E9DCC6EC-92E6-47D0-B23D-94365AC17441}"/>
                </a:ext>
              </a:extLst>
            </p:cNvPr>
            <p:cNvSpPr txBox="1"/>
            <p:nvPr/>
          </p:nvSpPr>
          <p:spPr>
            <a:xfrm>
              <a:off x="8076312" y="2085275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51" name="Legend3">
              <a:extLst>
                <a:ext uri="{FF2B5EF4-FFF2-40B4-BE49-F238E27FC236}">
                  <a16:creationId xmlns:a16="http://schemas.microsoft.com/office/drawing/2014/main" id="{8451F4C0-E484-44FD-B923-EE0B1E1D1274}"/>
                </a:ext>
              </a:extLst>
            </p:cNvPr>
            <p:cNvSpPr txBox="1"/>
            <p:nvPr/>
          </p:nvSpPr>
          <p:spPr>
            <a:xfrm>
              <a:off x="8076312" y="2460734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52" name="Legend4">
              <a:extLst>
                <a:ext uri="{FF2B5EF4-FFF2-40B4-BE49-F238E27FC236}">
                  <a16:creationId xmlns:a16="http://schemas.microsoft.com/office/drawing/2014/main" id="{508A2D78-9A17-4FB2-A405-02E4BB25DD6C}"/>
                </a:ext>
              </a:extLst>
            </p:cNvPr>
            <p:cNvSpPr txBox="1"/>
            <p:nvPr/>
          </p:nvSpPr>
          <p:spPr>
            <a:xfrm>
              <a:off x="8076312" y="2836193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53" name="Legend5">
              <a:extLst>
                <a:ext uri="{FF2B5EF4-FFF2-40B4-BE49-F238E27FC236}">
                  <a16:creationId xmlns:a16="http://schemas.microsoft.com/office/drawing/2014/main" id="{CF32E1C9-EF64-41BC-8B8E-B7FED880E653}"/>
                </a:ext>
              </a:extLst>
            </p:cNvPr>
            <p:cNvSpPr txBox="1"/>
            <p:nvPr/>
          </p:nvSpPr>
          <p:spPr>
            <a:xfrm>
              <a:off x="8076312" y="3211654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grpSp>
          <p:nvGrpSpPr>
            <p:cNvPr id="154" name="MoonLegend1">
              <a:extLst>
                <a:ext uri="{FF2B5EF4-FFF2-40B4-BE49-F238E27FC236}">
                  <a16:creationId xmlns:a16="http://schemas.microsoft.com/office/drawing/2014/main" id="{496CCEDB-0BDA-47D9-9BA4-03BD59D6EEC2}"/>
                </a:ext>
              </a:extLst>
            </p:cNvPr>
            <p:cNvGrpSpPr>
              <a:grpSpLocks noChangeAspect="1"/>
            </p:cNvGrpSpPr>
            <p:nvPr>
              <p:custDataLst>
                <p:tags r:id="rId25"/>
              </p:custDataLst>
            </p:nvPr>
          </p:nvGrpSpPr>
          <p:grpSpPr>
            <a:xfrm>
              <a:off x="7723680" y="1702457"/>
              <a:ext cx="228600" cy="228600"/>
              <a:chOff x="762000" y="1270000"/>
              <a:chExt cx="254000" cy="254000"/>
            </a:xfrm>
          </p:grpSpPr>
          <p:sp>
            <p:nvSpPr>
              <p:cNvPr id="167" name="Oval 166">
                <a:extLst>
                  <a:ext uri="{FF2B5EF4-FFF2-40B4-BE49-F238E27FC236}">
                    <a16:creationId xmlns:a16="http://schemas.microsoft.com/office/drawing/2014/main" id="{F21E8F0F-ACA9-405E-8484-3FE9B6124FFD}"/>
                  </a:ext>
                </a:extLst>
              </p:cNvPr>
              <p:cNvSpPr/>
              <p:nvPr>
                <p:custDataLst>
                  <p:tags r:id="rId3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8" name="Arc 167" hidden="1">
                <a:extLst>
                  <a:ext uri="{FF2B5EF4-FFF2-40B4-BE49-F238E27FC236}">
                    <a16:creationId xmlns:a16="http://schemas.microsoft.com/office/drawing/2014/main" id="{315D8D40-04AC-475B-AFC0-F08E492D131D}"/>
                  </a:ext>
                </a:extLst>
              </p:cNvPr>
              <p:cNvSpPr/>
              <p:nvPr>
                <p:custDataLst>
                  <p:tags r:id="rId3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55" name="MoonLegend2">
              <a:extLst>
                <a:ext uri="{FF2B5EF4-FFF2-40B4-BE49-F238E27FC236}">
                  <a16:creationId xmlns:a16="http://schemas.microsoft.com/office/drawing/2014/main" id="{BCF3BE62-91BA-488B-84C7-3FE20CFBDB9A}"/>
                </a:ext>
              </a:extLst>
            </p:cNvPr>
            <p:cNvGrpSpPr>
              <a:grpSpLocks noChangeAspect="1"/>
            </p:cNvGrpSpPr>
            <p:nvPr>
              <p:custDataLst>
                <p:tags r:id="rId26"/>
              </p:custDataLst>
            </p:nvPr>
          </p:nvGrpSpPr>
          <p:grpSpPr>
            <a:xfrm>
              <a:off x="7723680" y="2078270"/>
              <a:ext cx="228600" cy="228600"/>
              <a:chOff x="762000" y="1270000"/>
              <a:chExt cx="254000" cy="254000"/>
            </a:xfrm>
          </p:grpSpPr>
          <p:sp>
            <p:nvSpPr>
              <p:cNvPr id="165" name="Oval 164">
                <a:extLst>
                  <a:ext uri="{FF2B5EF4-FFF2-40B4-BE49-F238E27FC236}">
                    <a16:creationId xmlns:a16="http://schemas.microsoft.com/office/drawing/2014/main" id="{D27FF75E-C9E0-4D28-8F47-85C2D2EE375F}"/>
                  </a:ext>
                </a:extLst>
              </p:cNvPr>
              <p:cNvSpPr/>
              <p:nvPr>
                <p:custDataLst>
                  <p:tags r:id="rId3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6" name="Arc 165">
                <a:extLst>
                  <a:ext uri="{FF2B5EF4-FFF2-40B4-BE49-F238E27FC236}">
                    <a16:creationId xmlns:a16="http://schemas.microsoft.com/office/drawing/2014/main" id="{BDC4F596-0330-4D95-8A02-83794DACDB00}"/>
                  </a:ext>
                </a:extLst>
              </p:cNvPr>
              <p:cNvSpPr/>
              <p:nvPr>
                <p:custDataLst>
                  <p:tags r:id="rId3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56" name="MoonLegend3">
              <a:extLst>
                <a:ext uri="{FF2B5EF4-FFF2-40B4-BE49-F238E27FC236}">
                  <a16:creationId xmlns:a16="http://schemas.microsoft.com/office/drawing/2014/main" id="{E4482EDB-85E9-4926-9441-26A85880E202}"/>
                </a:ext>
              </a:extLst>
            </p:cNvPr>
            <p:cNvGrpSpPr>
              <a:grpSpLocks noChangeAspect="1"/>
            </p:cNvGrpSpPr>
            <p:nvPr>
              <p:custDataLst>
                <p:tags r:id="rId27"/>
              </p:custDataLst>
            </p:nvPr>
          </p:nvGrpSpPr>
          <p:grpSpPr>
            <a:xfrm>
              <a:off x="7723680" y="2454085"/>
              <a:ext cx="228600" cy="228600"/>
              <a:chOff x="762000" y="1270000"/>
              <a:chExt cx="254000" cy="254000"/>
            </a:xfrm>
          </p:grpSpPr>
          <p:sp>
            <p:nvSpPr>
              <p:cNvPr id="163" name="Oval 162">
                <a:extLst>
                  <a:ext uri="{FF2B5EF4-FFF2-40B4-BE49-F238E27FC236}">
                    <a16:creationId xmlns:a16="http://schemas.microsoft.com/office/drawing/2014/main" id="{6B270099-CB45-46A3-8BC6-ADF0FABD3567}"/>
                  </a:ext>
                </a:extLst>
              </p:cNvPr>
              <p:cNvSpPr/>
              <p:nvPr>
                <p:custDataLst>
                  <p:tags r:id="rId34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4" name="Arc 163">
                <a:extLst>
                  <a:ext uri="{FF2B5EF4-FFF2-40B4-BE49-F238E27FC236}">
                    <a16:creationId xmlns:a16="http://schemas.microsoft.com/office/drawing/2014/main" id="{4D910DDA-12F5-450E-85C1-CD98B4A9EE80}"/>
                  </a:ext>
                </a:extLst>
              </p:cNvPr>
              <p:cNvSpPr/>
              <p:nvPr>
                <p:custDataLst>
                  <p:tags r:id="rId3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57" name="MoonLegend4">
              <a:extLst>
                <a:ext uri="{FF2B5EF4-FFF2-40B4-BE49-F238E27FC236}">
                  <a16:creationId xmlns:a16="http://schemas.microsoft.com/office/drawing/2014/main" id="{2606D4D9-DA1B-4BEB-8CC9-41FDA33CC5A0}"/>
                </a:ext>
              </a:extLst>
            </p:cNvPr>
            <p:cNvGrpSpPr>
              <a:grpSpLocks noChangeAspect="1"/>
            </p:cNvGrpSpPr>
            <p:nvPr>
              <p:custDataLst>
                <p:tags r:id="rId28"/>
              </p:custDataLst>
            </p:nvPr>
          </p:nvGrpSpPr>
          <p:grpSpPr>
            <a:xfrm>
              <a:off x="7723680" y="2829900"/>
              <a:ext cx="228600" cy="228600"/>
              <a:chOff x="762000" y="1270000"/>
              <a:chExt cx="254000" cy="254000"/>
            </a:xfrm>
          </p:grpSpPr>
          <p:sp>
            <p:nvSpPr>
              <p:cNvPr id="161" name="Oval 160">
                <a:extLst>
                  <a:ext uri="{FF2B5EF4-FFF2-40B4-BE49-F238E27FC236}">
                    <a16:creationId xmlns:a16="http://schemas.microsoft.com/office/drawing/2014/main" id="{81477097-8655-4968-A993-EA579ADDDBCF}"/>
                  </a:ext>
                </a:extLst>
              </p:cNvPr>
              <p:cNvSpPr/>
              <p:nvPr>
                <p:custDataLst>
                  <p:tags r:id="rId3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2" name="Arc 161">
                <a:extLst>
                  <a:ext uri="{FF2B5EF4-FFF2-40B4-BE49-F238E27FC236}">
                    <a16:creationId xmlns:a16="http://schemas.microsoft.com/office/drawing/2014/main" id="{EAFFF099-23A4-4400-9308-28EB2E760A74}"/>
                  </a:ext>
                </a:extLst>
              </p:cNvPr>
              <p:cNvSpPr/>
              <p:nvPr>
                <p:custDataLst>
                  <p:tags r:id="rId3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58" name="MoonLegend5">
              <a:extLst>
                <a:ext uri="{FF2B5EF4-FFF2-40B4-BE49-F238E27FC236}">
                  <a16:creationId xmlns:a16="http://schemas.microsoft.com/office/drawing/2014/main" id="{157F392C-3A22-465F-B4F0-A7E9FD7A01A1}"/>
                </a:ext>
              </a:extLst>
            </p:cNvPr>
            <p:cNvGrpSpPr>
              <a:grpSpLocks noChangeAspect="1"/>
            </p:cNvGrpSpPr>
            <p:nvPr>
              <p:custDataLst>
                <p:tags r:id="rId29"/>
              </p:custDataLst>
            </p:nvPr>
          </p:nvGrpSpPr>
          <p:grpSpPr>
            <a:xfrm>
              <a:off x="7723680" y="3205716"/>
              <a:ext cx="228600" cy="228600"/>
              <a:chOff x="762000" y="1270000"/>
              <a:chExt cx="254000" cy="254000"/>
            </a:xfrm>
          </p:grpSpPr>
          <p:sp>
            <p:nvSpPr>
              <p:cNvPr id="159" name="Oval 158">
                <a:extLst>
                  <a:ext uri="{FF2B5EF4-FFF2-40B4-BE49-F238E27FC236}">
                    <a16:creationId xmlns:a16="http://schemas.microsoft.com/office/drawing/2014/main" id="{BE9440E9-0BAB-4509-A556-8A80E9683FAB}"/>
                  </a:ext>
                </a:extLst>
              </p:cNvPr>
              <p:cNvSpPr/>
              <p:nvPr>
                <p:custDataLst>
                  <p:tags r:id="rId3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0" name="Arc 159">
                <a:extLst>
                  <a:ext uri="{FF2B5EF4-FFF2-40B4-BE49-F238E27FC236}">
                    <a16:creationId xmlns:a16="http://schemas.microsoft.com/office/drawing/2014/main" id="{CA6DB424-2E98-4F1D-87A4-EE09FA805687}"/>
                  </a:ext>
                </a:extLst>
              </p:cNvPr>
              <p:cNvSpPr/>
              <p:nvPr>
                <p:custDataLst>
                  <p:tags r:id="rId3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grpSp>
        <p:nvGrpSpPr>
          <p:cNvPr id="169" name="Sticker" hidden="1">
            <a:extLst>
              <a:ext uri="{FF2B5EF4-FFF2-40B4-BE49-F238E27FC236}">
                <a16:creationId xmlns:a16="http://schemas.microsoft.com/office/drawing/2014/main" id="{2FA9271D-5EE0-4D66-9FDF-E4D1535949E8}"/>
              </a:ext>
            </a:extLst>
          </p:cNvPr>
          <p:cNvGrpSpPr>
            <a:grpSpLocks noChangeAspect="1"/>
          </p:cNvGrpSpPr>
          <p:nvPr userDrawn="1"/>
        </p:nvGrpSpPr>
        <p:grpSpPr bwMode="gray">
          <a:xfrm>
            <a:off x="558192" y="1289273"/>
            <a:ext cx="429605" cy="156997"/>
            <a:chOff x="8456447" y="272180"/>
            <a:chExt cx="322188" cy="156966"/>
          </a:xfrm>
        </p:grpSpPr>
        <p:sp>
          <p:nvSpPr>
            <p:cNvPr id="170" name="StickerRectangle">
              <a:extLst>
                <a:ext uri="{FF2B5EF4-FFF2-40B4-BE49-F238E27FC236}">
                  <a16:creationId xmlns:a16="http://schemas.microsoft.com/office/drawing/2014/main" id="{27342EFB-A6AF-4379-A9C9-4F8DD97D160E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8456447" y="272180"/>
              <a:ext cx="322188" cy="15696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18288" anchor="t" anchorCtr="0">
              <a:spAutoFit/>
            </a:bodyPr>
            <a:lstStyle/>
            <a:p>
              <a:pPr algn="l" defTabSz="1193860">
                <a:buClr>
                  <a:schemeClr val="tx2"/>
                </a:buClr>
              </a:pPr>
              <a:r>
                <a:rPr lang="en-US" sz="900" b="1" spc="50" dirty="0">
                  <a:ln w="3175">
                    <a:noFill/>
                  </a:ln>
                  <a:solidFill>
                    <a:schemeClr val="tx1"/>
                  </a:solidFill>
                </a:rPr>
                <a:t>Sticker</a:t>
              </a:r>
              <a:endParaRPr lang="en-US" sz="800" baseline="0" dirty="0">
                <a:solidFill>
                  <a:schemeClr val="tx1"/>
                </a:solidFill>
                <a:latin typeface="+mn-lt"/>
                <a:ea typeface="+mn-ea"/>
              </a:endParaRPr>
            </a:p>
          </p:txBody>
        </p:sp>
        <p:cxnSp>
          <p:nvCxnSpPr>
            <p:cNvPr id="171" name="StickerUnderline">
              <a:extLst>
                <a:ext uri="{FF2B5EF4-FFF2-40B4-BE49-F238E27FC236}">
                  <a16:creationId xmlns:a16="http://schemas.microsoft.com/office/drawing/2014/main" id="{AC518518-EC41-445B-B558-9DBD24A778EA}"/>
                </a:ext>
              </a:extLst>
            </p:cNvPr>
            <p:cNvCxnSpPr>
              <a:cxnSpLocks noChangeShapeType="1"/>
              <a:stCxn id="170" idx="4"/>
              <a:endCxn id="170" idx="6"/>
            </p:cNvCxnSpPr>
            <p:nvPr/>
          </p:nvCxnSpPr>
          <p:spPr bwMode="gray">
            <a:xfrm>
              <a:off x="8456447" y="429146"/>
              <a:ext cx="322188" cy="0"/>
            </a:xfrm>
            <a:prstGeom prst="straightConnector1">
              <a:avLst/>
            </a:prstGeom>
            <a:noFill/>
            <a:ln w="4191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179" name="LegendLines" hidden="1">
            <a:extLst>
              <a:ext uri="{FF2B5EF4-FFF2-40B4-BE49-F238E27FC236}">
                <a16:creationId xmlns:a16="http://schemas.microsoft.com/office/drawing/2014/main" id="{BA3F11B7-574B-46B5-AA05-051B7C0195CA}"/>
              </a:ext>
            </a:extLst>
          </p:cNvPr>
          <p:cNvGrpSpPr/>
          <p:nvPr userDrawn="1"/>
        </p:nvGrpSpPr>
        <p:grpSpPr>
          <a:xfrm>
            <a:off x="10367929" y="3301675"/>
            <a:ext cx="1269335" cy="958286"/>
            <a:chOff x="4372690" y="3739101"/>
            <a:chExt cx="1269335" cy="958286"/>
          </a:xfrm>
        </p:grpSpPr>
        <p:sp>
          <p:nvSpPr>
            <p:cNvPr id="180" name="Legend1">
              <a:extLst>
                <a:ext uri="{FF2B5EF4-FFF2-40B4-BE49-F238E27FC236}">
                  <a16:creationId xmlns:a16="http://schemas.microsoft.com/office/drawing/2014/main" id="{A89F3277-B9B0-4605-94B5-1A0F3CF3FD94}"/>
                </a:ext>
              </a:extLst>
            </p:cNvPr>
            <p:cNvSpPr txBox="1"/>
            <p:nvPr/>
          </p:nvSpPr>
          <p:spPr>
            <a:xfrm>
              <a:off x="4988914" y="3739101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81" name="Legend2">
              <a:extLst>
                <a:ext uri="{FF2B5EF4-FFF2-40B4-BE49-F238E27FC236}">
                  <a16:creationId xmlns:a16="http://schemas.microsoft.com/office/drawing/2014/main" id="{728FD0F6-6F17-4DBC-A433-275600325C11}"/>
                </a:ext>
              </a:extLst>
            </p:cNvPr>
            <p:cNvSpPr txBox="1"/>
            <p:nvPr/>
          </p:nvSpPr>
          <p:spPr>
            <a:xfrm>
              <a:off x="4988914" y="4110522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82" name="Legend3">
              <a:extLst>
                <a:ext uri="{FF2B5EF4-FFF2-40B4-BE49-F238E27FC236}">
                  <a16:creationId xmlns:a16="http://schemas.microsoft.com/office/drawing/2014/main" id="{824D0AAE-0E8B-4539-A5E0-724A7C2C5FB7}"/>
                </a:ext>
              </a:extLst>
            </p:cNvPr>
            <p:cNvSpPr txBox="1"/>
            <p:nvPr/>
          </p:nvSpPr>
          <p:spPr>
            <a:xfrm>
              <a:off x="4988914" y="4481943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83" name="LineLegend3">
              <a:extLst>
                <a:ext uri="{FF2B5EF4-FFF2-40B4-BE49-F238E27FC236}">
                  <a16:creationId xmlns:a16="http://schemas.microsoft.com/office/drawing/2014/main" id="{15B966CE-74A4-42D7-84D1-50EE1BD807B7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372690" y="4588113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184" name="LineLegend2">
              <a:extLst>
                <a:ext uri="{FF2B5EF4-FFF2-40B4-BE49-F238E27FC236}">
                  <a16:creationId xmlns:a16="http://schemas.microsoft.com/office/drawing/2014/main" id="{4AD11E2E-205C-4B89-BD31-DA18921C3385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372690" y="421475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185" name="LineLegend1">
              <a:extLst>
                <a:ext uri="{FF2B5EF4-FFF2-40B4-BE49-F238E27FC236}">
                  <a16:creationId xmlns:a16="http://schemas.microsoft.com/office/drawing/2014/main" id="{393D5D55-EAFF-4EBE-B2CF-AF057C324E68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372690" y="3846823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9692297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4" r:id="rId1"/>
    <p:sldLayoutId id="2147483654" r:id="rId2"/>
    <p:sldLayoutId id="2147483807" r:id="rId3"/>
    <p:sldLayoutId id="2147483800" r:id="rId4"/>
    <p:sldLayoutId id="2147483659" r:id="rId5"/>
    <p:sldLayoutId id="2147483804" r:id="rId6"/>
    <p:sldLayoutId id="2147483860" r:id="rId7"/>
    <p:sldLayoutId id="2147483856" r:id="rId8"/>
    <p:sldLayoutId id="2147483805" r:id="rId9"/>
    <p:sldLayoutId id="2147483806" r:id="rId10"/>
    <p:sldLayoutId id="2147483882" r:id="rId11"/>
    <p:sldLayoutId id="2147483879" r:id="rId12"/>
    <p:sldLayoutId id="2147483706" r:id="rId13"/>
    <p:sldLayoutId id="2147483718" r:id="rId14"/>
  </p:sldLayoutIdLst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500" b="1" kern="1200" spc="0" baseline="0">
          <a:ln w="6350" cap="flat">
            <a:noFill/>
            <a:miter lim="800000"/>
          </a:ln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Segoe UI" panose="020B0502040204020203" pitchFamily="34" charset="0"/>
        <a:buChar char="​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228600" indent="-225425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panose="05000000000000000000" pitchFamily="2" charset="2"/>
        <a:buChar char="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2pPr>
      <a:lvl3pPr marL="515938" indent="-287338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—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3pPr>
      <a:lvl4pPr marL="742950" indent="-182563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»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4pPr>
      <a:lvl5pPr marL="914400" indent="-136525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›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5pPr>
      <a:lvl6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7pPr>
      <a:lvl8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8pPr>
      <a:lvl9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68">
          <p15:clr>
            <a:srgbClr val="5ACBF0"/>
          </p15:clr>
        </p15:guide>
        <p15:guide id="3" orient="horz" pos="3912">
          <p15:clr>
            <a:srgbClr val="5ACBF0"/>
          </p15:clr>
        </p15:guide>
        <p15:guide id="4" orient="horz" pos="1075">
          <p15:clr>
            <a:srgbClr val="F26B43"/>
          </p15:clr>
        </p15:guide>
        <p15:guide id="5" pos="7329">
          <p15:clr>
            <a:srgbClr val="F26B43"/>
          </p15:clr>
        </p15:guide>
        <p15:guide id="6" pos="345">
          <p15:clr>
            <a:srgbClr val="F26B43"/>
          </p15:clr>
        </p15:guide>
        <p15:guide id="8" orient="horz" pos="4063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08800E62-ECD5-472D-995B-013B57BB4C0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9193625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7665" name="think-cell Slide" r:id="rId40" imgW="344" imgH="344" progId="TCLayout.ActiveDocument.1">
                  <p:embed/>
                </p:oleObj>
              </mc:Choice>
              <mc:Fallback>
                <p:oleObj name="think-cell Slide" r:id="rId40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D1744EB-7E76-4AE2-88F6-C0D4CE03B5BB}"/>
              </a:ext>
            </a:extLst>
          </p:cNvPr>
          <p:cNvSpPr/>
          <p:nvPr userDrawn="1">
            <p:custDataLst>
              <p:tags r:id="rId18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03" name="SlideLogoText" hidden="1">
            <a:extLst>
              <a:ext uri="{FF2B5EF4-FFF2-40B4-BE49-F238E27FC236}">
                <a16:creationId xmlns:a16="http://schemas.microsoft.com/office/drawing/2014/main" id="{69FC0062-74AE-4BDA-ACE7-D069B448DDBC}"/>
              </a:ext>
            </a:extLst>
          </p:cNvPr>
          <p:cNvSpPr txBox="1"/>
          <p:nvPr userDrawn="1">
            <p:custDataLst>
              <p:tags r:id="rId19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cxnSp>
        <p:nvCxnSpPr>
          <p:cNvPr id="106" name="BottomLine">
            <a:extLst>
              <a:ext uri="{FF2B5EF4-FFF2-40B4-BE49-F238E27FC236}">
                <a16:creationId xmlns:a16="http://schemas.microsoft.com/office/drawing/2014/main" id="{8B868434-776E-46FC-90D6-2CC6F63A9A51}"/>
              </a:ext>
            </a:extLst>
          </p:cNvPr>
          <p:cNvCxnSpPr/>
          <p:nvPr userDrawn="1">
            <p:custDataLst>
              <p:tags r:id="rId20"/>
            </p:custDataLst>
          </p:nvPr>
        </p:nvCxnSpPr>
        <p:spPr>
          <a:xfrm>
            <a:off x="554736" y="6453769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">
            <a:extLst>
              <a:ext uri="{FF2B5EF4-FFF2-40B4-BE49-F238E27FC236}">
                <a16:creationId xmlns:a16="http://schemas.microsoft.com/office/drawing/2014/main" id="{00E8CD27-C104-4563-9322-C0A2ABFCB5E3}"/>
              </a:ext>
            </a:extLst>
          </p:cNvPr>
          <p:cNvCxnSpPr/>
          <p:nvPr userDrawn="1">
            <p:custDataLst>
              <p:tags r:id="rId21"/>
            </p:custDataLst>
          </p:nvPr>
        </p:nvCxnSpPr>
        <p:spPr>
          <a:xfrm>
            <a:off x="554736" y="1181906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2. Slide Title">
            <a:extLst>
              <a:ext uri="{FF2B5EF4-FFF2-40B4-BE49-F238E27FC236}">
                <a16:creationId xmlns:a16="http://schemas.microsoft.com/office/drawing/2014/main" id="{7C8D601E-A2E1-4979-AE83-B694B9829662}"/>
              </a:ext>
            </a:extLst>
          </p:cNvPr>
          <p:cNvSpPr>
            <a:spLocks noGrp="1"/>
          </p:cNvSpPr>
          <p:nvPr>
            <p:ph type="title"/>
            <p:custDataLst>
              <p:tags r:id="rId22"/>
            </p:custDataLst>
          </p:nvPr>
        </p:nvSpPr>
        <p:spPr>
          <a:xfrm>
            <a:off x="554736" y="172212"/>
            <a:ext cx="11082528" cy="73152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4" name="Text Placeholder 2">
            <a:extLst>
              <a:ext uri="{FF2B5EF4-FFF2-40B4-BE49-F238E27FC236}">
                <a16:creationId xmlns:a16="http://schemas.microsoft.com/office/drawing/2014/main" id="{6A9C4AD8-E579-4AD3-9B92-5A31AC8DDA0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4736" y="2171700"/>
            <a:ext cx="11082528" cy="252376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grpSp>
        <p:nvGrpSpPr>
          <p:cNvPr id="55" name="Grid" hidden="1">
            <a:extLst>
              <a:ext uri="{FF2B5EF4-FFF2-40B4-BE49-F238E27FC236}">
                <a16:creationId xmlns:a16="http://schemas.microsoft.com/office/drawing/2014/main" id="{DEFB2FD9-7CD8-4FAE-9553-EBB1883173D8}"/>
              </a:ext>
            </a:extLst>
          </p:cNvPr>
          <p:cNvGrpSpPr/>
          <p:nvPr userDrawn="1">
            <p:custDataLst>
              <p:tags r:id="rId23"/>
            </p:custDataLst>
          </p:nvPr>
        </p:nvGrpSpPr>
        <p:grpSpPr>
          <a:xfrm>
            <a:off x="1524" y="0"/>
            <a:ext cx="12190476" cy="6858000"/>
            <a:chOff x="0" y="0"/>
            <a:chExt cx="12190476" cy="6858000"/>
          </a:xfrm>
        </p:grpSpPr>
        <p:sp>
          <p:nvSpPr>
            <p:cNvPr id="56" name="slide margin">
              <a:extLst>
                <a:ext uri="{FF2B5EF4-FFF2-40B4-BE49-F238E27FC236}">
                  <a16:creationId xmlns:a16="http://schemas.microsoft.com/office/drawing/2014/main" id="{38DD344F-AD20-46A3-A11B-2D82C3344FEC}"/>
                </a:ext>
              </a:extLst>
            </p:cNvPr>
            <p:cNvSpPr/>
            <p:nvPr/>
          </p:nvSpPr>
          <p:spPr bwMode="invGray">
            <a:xfrm>
              <a:off x="1524" y="0"/>
              <a:ext cx="12188952" cy="6858000"/>
            </a:xfrm>
            <a:custGeom>
              <a:avLst/>
              <a:gdLst>
                <a:gd name="connsiteX0" fmla="*/ 551868 w 12188952"/>
                <a:gd name="connsiteY0" fmla="*/ 1709928 h 6858000"/>
                <a:gd name="connsiteX1" fmla="*/ 551868 w 12188952"/>
                <a:gd name="connsiteY1" fmla="*/ 6217920 h 6858000"/>
                <a:gd name="connsiteX2" fmla="*/ 11636196 w 12188952"/>
                <a:gd name="connsiteY2" fmla="*/ 6217920 h 6858000"/>
                <a:gd name="connsiteX3" fmla="*/ 11636196 w 12188952"/>
                <a:gd name="connsiteY3" fmla="*/ 1709928 h 6858000"/>
                <a:gd name="connsiteX4" fmla="*/ 0 w 12188952"/>
                <a:gd name="connsiteY4" fmla="*/ 0 h 6858000"/>
                <a:gd name="connsiteX5" fmla="*/ 12188952 w 12188952"/>
                <a:gd name="connsiteY5" fmla="*/ 0 h 6858000"/>
                <a:gd name="connsiteX6" fmla="*/ 12188952 w 12188952"/>
                <a:gd name="connsiteY6" fmla="*/ 6858000 h 6858000"/>
                <a:gd name="connsiteX7" fmla="*/ 0 w 12188952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88952" h="6858000">
                  <a:moveTo>
                    <a:pt x="551868" y="1709928"/>
                  </a:moveTo>
                  <a:lnTo>
                    <a:pt x="551868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US" err="1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57" name="Straight Connector 56">
              <a:extLst>
                <a:ext uri="{FF2B5EF4-FFF2-40B4-BE49-F238E27FC236}">
                  <a16:creationId xmlns:a16="http://schemas.microsoft.com/office/drawing/2014/main" id="{6C7601CF-5E5B-457D-847F-427610DA2FB7}"/>
                </a:ext>
              </a:extLst>
            </p:cNvPr>
            <p:cNvCxnSpPr/>
            <p:nvPr/>
          </p:nvCxnSpPr>
          <p:spPr bwMode="inv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Straight Connector 57">
              <a:extLst>
                <a:ext uri="{FF2B5EF4-FFF2-40B4-BE49-F238E27FC236}">
                  <a16:creationId xmlns:a16="http://schemas.microsoft.com/office/drawing/2014/main" id="{731F3C21-0066-454F-858F-CF8DE7C15746}"/>
                </a:ext>
              </a:extLst>
            </p:cNvPr>
            <p:cNvCxnSpPr/>
            <p:nvPr/>
          </p:nvCxnSpPr>
          <p:spPr bwMode="inv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Straight Connector 58">
              <a:extLst>
                <a:ext uri="{FF2B5EF4-FFF2-40B4-BE49-F238E27FC236}">
                  <a16:creationId xmlns:a16="http://schemas.microsoft.com/office/drawing/2014/main" id="{E62C2F96-141D-4584-8AFC-7B03AC967AD5}"/>
                </a:ext>
              </a:extLst>
            </p:cNvPr>
            <p:cNvCxnSpPr/>
            <p:nvPr/>
          </p:nvCxnSpPr>
          <p:spPr bwMode="inv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Straight Connector 59">
              <a:extLst>
                <a:ext uri="{FF2B5EF4-FFF2-40B4-BE49-F238E27FC236}">
                  <a16:creationId xmlns:a16="http://schemas.microsoft.com/office/drawing/2014/main" id="{BFFAB406-01C7-4D16-B756-95AABF69356F}"/>
                </a:ext>
              </a:extLst>
            </p:cNvPr>
            <p:cNvCxnSpPr/>
            <p:nvPr/>
          </p:nvCxnSpPr>
          <p:spPr bwMode="inv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AC0947A7-511E-40BC-89AC-7FB57EB8253A}"/>
                </a:ext>
              </a:extLst>
            </p:cNvPr>
            <p:cNvCxnSpPr/>
            <p:nvPr/>
          </p:nvCxnSpPr>
          <p:spPr bwMode="inv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EE13BF7D-FE79-4AD9-BD1E-86E33F888F0B}"/>
                </a:ext>
              </a:extLst>
            </p:cNvPr>
            <p:cNvCxnSpPr/>
            <p:nvPr/>
          </p:nvCxnSpPr>
          <p:spPr bwMode="inv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39CD20B4-6A15-49A2-A59E-FCCFB641E09C}"/>
                </a:ext>
              </a:extLst>
            </p:cNvPr>
            <p:cNvCxnSpPr/>
            <p:nvPr/>
          </p:nvCxnSpPr>
          <p:spPr bwMode="inv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88C9107F-AE78-4984-826C-0B2406DAF134}"/>
                </a:ext>
              </a:extLst>
            </p:cNvPr>
            <p:cNvCxnSpPr/>
            <p:nvPr/>
          </p:nvCxnSpPr>
          <p:spPr bwMode="inv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934F056F-D81A-4196-9B3A-AE8FD5591CB2}"/>
                </a:ext>
              </a:extLst>
            </p:cNvPr>
            <p:cNvCxnSpPr/>
            <p:nvPr/>
          </p:nvCxnSpPr>
          <p:spPr bwMode="inv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A4C1E84A-C73C-43D4-BA3C-8DBC74530EF8}"/>
                </a:ext>
              </a:extLst>
            </p:cNvPr>
            <p:cNvCxnSpPr/>
            <p:nvPr/>
          </p:nvCxnSpPr>
          <p:spPr bwMode="inv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BE85AE8D-58C3-4AA0-B6F0-E5B277CA7900}"/>
                </a:ext>
              </a:extLst>
            </p:cNvPr>
            <p:cNvCxnSpPr/>
            <p:nvPr/>
          </p:nvCxnSpPr>
          <p:spPr bwMode="inv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7C36F9C0-4B83-4C02-9FB8-FE87C7414EE2}"/>
                </a:ext>
              </a:extLst>
            </p:cNvPr>
            <p:cNvCxnSpPr/>
            <p:nvPr/>
          </p:nvCxnSpPr>
          <p:spPr bwMode="inv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9" name="Freeform: Shape 68">
              <a:extLst>
                <a:ext uri="{FF2B5EF4-FFF2-40B4-BE49-F238E27FC236}">
                  <a16:creationId xmlns:a16="http://schemas.microsoft.com/office/drawing/2014/main" id="{33B3485C-D98D-4843-9430-BAB5037871BA}"/>
                </a:ext>
              </a:extLst>
            </p:cNvPr>
            <p:cNvSpPr/>
            <p:nvPr/>
          </p:nvSpPr>
          <p:spPr bwMode="inv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0" name="Freeform: Shape 69">
              <a:extLst>
                <a:ext uri="{FF2B5EF4-FFF2-40B4-BE49-F238E27FC236}">
                  <a16:creationId xmlns:a16="http://schemas.microsoft.com/office/drawing/2014/main" id="{D4711F5E-C124-4817-92AB-CA50490512E0}"/>
                </a:ext>
              </a:extLst>
            </p:cNvPr>
            <p:cNvSpPr/>
            <p:nvPr/>
          </p:nvSpPr>
          <p:spPr bwMode="inv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1" name="Freeform: Shape 70">
              <a:extLst>
                <a:ext uri="{FF2B5EF4-FFF2-40B4-BE49-F238E27FC236}">
                  <a16:creationId xmlns:a16="http://schemas.microsoft.com/office/drawing/2014/main" id="{287B4A93-F9FF-464C-9429-7F0508C752D8}"/>
                </a:ext>
              </a:extLst>
            </p:cNvPr>
            <p:cNvSpPr/>
            <p:nvPr/>
          </p:nvSpPr>
          <p:spPr bwMode="inv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2" name="Freeform: Shape 71">
              <a:extLst>
                <a:ext uri="{FF2B5EF4-FFF2-40B4-BE49-F238E27FC236}">
                  <a16:creationId xmlns:a16="http://schemas.microsoft.com/office/drawing/2014/main" id="{F30BD8E3-A9FF-4CAF-AFCE-78BAF967AB1A}"/>
                </a:ext>
              </a:extLst>
            </p:cNvPr>
            <p:cNvSpPr/>
            <p:nvPr/>
          </p:nvSpPr>
          <p:spPr bwMode="inv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68DFD3D7-8227-4BAE-92E3-7A8D1D9D120B}"/>
                </a:ext>
              </a:extLst>
            </p:cNvPr>
            <p:cNvSpPr/>
            <p:nvPr/>
          </p:nvSpPr>
          <p:spPr bwMode="inv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B1BDBD63-521E-429E-88F1-146A189AC445}"/>
                </a:ext>
              </a:extLst>
            </p:cNvPr>
            <p:cNvSpPr/>
            <p:nvPr/>
          </p:nvSpPr>
          <p:spPr bwMode="inv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A0B0088A-AB05-469E-9D5A-008850E9B532}"/>
                </a:ext>
              </a:extLst>
            </p:cNvPr>
            <p:cNvSpPr/>
            <p:nvPr/>
          </p:nvSpPr>
          <p:spPr bwMode="inv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19BCFA35-14ED-4686-918B-E003CB0183E0}"/>
                </a:ext>
              </a:extLst>
            </p:cNvPr>
            <p:cNvSpPr/>
            <p:nvPr/>
          </p:nvSpPr>
          <p:spPr bwMode="inv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32C9479A-9B75-4DAD-BD6F-ACA06F40053D}"/>
                </a:ext>
              </a:extLst>
            </p:cNvPr>
            <p:cNvSpPr/>
            <p:nvPr/>
          </p:nvSpPr>
          <p:spPr bwMode="inv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0E502045-AFEE-46BD-82EF-7FDCA210A972}"/>
                </a:ext>
              </a:extLst>
            </p:cNvPr>
            <p:cNvSpPr/>
            <p:nvPr/>
          </p:nvSpPr>
          <p:spPr bwMode="inv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8331B978-23AB-4D1C-BDEB-D3F9BEDAA2DB}"/>
                </a:ext>
              </a:extLst>
            </p:cNvPr>
            <p:cNvSpPr/>
            <p:nvPr/>
          </p:nvSpPr>
          <p:spPr bwMode="inv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B5C2958A-8756-4F5D-9D2E-8609AF3FE7F3}"/>
                </a:ext>
              </a:extLst>
            </p:cNvPr>
            <p:cNvSpPr/>
            <p:nvPr/>
          </p:nvSpPr>
          <p:spPr bwMode="inv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405E51A7-0B73-4EDC-8853-4C4885C3CD12}"/>
                </a:ext>
              </a:extLst>
            </p:cNvPr>
            <p:cNvSpPr/>
            <p:nvPr/>
          </p:nvSpPr>
          <p:spPr bwMode="inv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A655BB02-C70B-4783-95E3-349A9749DE81}"/>
                </a:ext>
              </a:extLst>
            </p:cNvPr>
            <p:cNvSpPr/>
            <p:nvPr/>
          </p:nvSpPr>
          <p:spPr bwMode="inv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BF414889-E577-40C3-8CDF-DA20200FC4BB}"/>
                </a:ext>
              </a:extLst>
            </p:cNvPr>
            <p:cNvSpPr/>
            <p:nvPr userDrawn="1"/>
          </p:nvSpPr>
          <p:spPr bwMode="inv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10578B73-0DC8-40FE-8A21-280C0818D286}"/>
                </a:ext>
              </a:extLst>
            </p:cNvPr>
            <p:cNvSpPr/>
            <p:nvPr userDrawn="1"/>
          </p:nvSpPr>
          <p:spPr bwMode="inv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2A3EAB8C-6F2A-4487-A2BB-0984642F92BD}"/>
                </a:ext>
              </a:extLst>
            </p:cNvPr>
            <p:cNvSpPr/>
            <p:nvPr userDrawn="1"/>
          </p:nvSpPr>
          <p:spPr bwMode="inv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07D70175-6613-45BC-AF43-015C72F13A7B}"/>
                </a:ext>
              </a:extLst>
            </p:cNvPr>
            <p:cNvSpPr/>
            <p:nvPr userDrawn="1"/>
          </p:nvSpPr>
          <p:spPr bwMode="inv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9B942F25-6CDB-4981-97B7-D7BDEBE5ADF5}"/>
                </a:ext>
              </a:extLst>
            </p:cNvPr>
            <p:cNvSpPr/>
            <p:nvPr userDrawn="1"/>
          </p:nvSpPr>
          <p:spPr bwMode="inv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01315AFB-F00B-4517-B2CA-2588A030EFF4}"/>
                </a:ext>
              </a:extLst>
            </p:cNvPr>
            <p:cNvSpPr/>
            <p:nvPr userDrawn="1"/>
          </p:nvSpPr>
          <p:spPr bwMode="inv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F2EAC9B8-160B-4F7F-8029-F358F771D704}"/>
                </a:ext>
              </a:extLst>
            </p:cNvPr>
            <p:cNvSpPr/>
            <p:nvPr userDrawn="1"/>
          </p:nvSpPr>
          <p:spPr bwMode="inv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42671AAA-F5BF-4B8E-9B20-12F8E97A3021}"/>
                </a:ext>
              </a:extLst>
            </p:cNvPr>
            <p:cNvSpPr/>
            <p:nvPr userDrawn="1"/>
          </p:nvSpPr>
          <p:spPr bwMode="inv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23FB4F88-2E32-42AF-931D-73EEE391186B}"/>
                </a:ext>
              </a:extLst>
            </p:cNvPr>
            <p:cNvSpPr/>
            <p:nvPr userDrawn="1"/>
          </p:nvSpPr>
          <p:spPr bwMode="inv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E4A1769F-CE92-4633-87B1-DDCB8F121456}"/>
                </a:ext>
              </a:extLst>
            </p:cNvPr>
            <p:cNvSpPr/>
            <p:nvPr userDrawn="1"/>
          </p:nvSpPr>
          <p:spPr bwMode="inv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4B597847-9D21-4E79-A3C1-CD09A72ED17A}"/>
                </a:ext>
              </a:extLst>
            </p:cNvPr>
            <p:cNvSpPr/>
            <p:nvPr userDrawn="1"/>
          </p:nvSpPr>
          <p:spPr bwMode="inv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94" name="Straight Connector 93">
              <a:extLst>
                <a:ext uri="{FF2B5EF4-FFF2-40B4-BE49-F238E27FC236}">
                  <a16:creationId xmlns:a16="http://schemas.microsoft.com/office/drawing/2014/main" id="{A4475F4C-A18C-4D1A-BA57-171FB0889ED5}"/>
                </a:ext>
              </a:extLst>
            </p:cNvPr>
            <p:cNvCxnSpPr/>
            <p:nvPr userDrawn="1"/>
          </p:nvCxnSpPr>
          <p:spPr bwMode="inv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5" name="Straight Connector 94">
              <a:extLst>
                <a:ext uri="{FF2B5EF4-FFF2-40B4-BE49-F238E27FC236}">
                  <a16:creationId xmlns:a16="http://schemas.microsoft.com/office/drawing/2014/main" id="{CB668352-A3AB-4B2E-9A58-3447022124C4}"/>
                </a:ext>
              </a:extLst>
            </p:cNvPr>
            <p:cNvCxnSpPr/>
            <p:nvPr userDrawn="1"/>
          </p:nvCxnSpPr>
          <p:spPr bwMode="inv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6" name="Straight Connector 95">
              <a:extLst>
                <a:ext uri="{FF2B5EF4-FFF2-40B4-BE49-F238E27FC236}">
                  <a16:creationId xmlns:a16="http://schemas.microsoft.com/office/drawing/2014/main" id="{7FB43971-E513-473C-A51D-9EE94E61083C}"/>
                </a:ext>
              </a:extLst>
            </p:cNvPr>
            <p:cNvCxnSpPr/>
            <p:nvPr userDrawn="1"/>
          </p:nvCxnSpPr>
          <p:spPr bwMode="inv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7" name="Straight Connector 96">
              <a:extLst>
                <a:ext uri="{FF2B5EF4-FFF2-40B4-BE49-F238E27FC236}">
                  <a16:creationId xmlns:a16="http://schemas.microsoft.com/office/drawing/2014/main" id="{45DF1BF3-81AD-4891-9BB0-2F7A0C9D4E46}"/>
                </a:ext>
              </a:extLst>
            </p:cNvPr>
            <p:cNvCxnSpPr/>
            <p:nvPr userDrawn="1"/>
          </p:nvCxnSpPr>
          <p:spPr bwMode="inv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00BDB8E3-D6DD-4760-8A19-73C078A70F87}"/>
                </a:ext>
              </a:extLst>
            </p:cNvPr>
            <p:cNvCxnSpPr/>
            <p:nvPr userDrawn="1"/>
          </p:nvCxnSpPr>
          <p:spPr bwMode="inv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CF12D775-122F-40DE-9D53-9EE07EEAA8F5}"/>
                </a:ext>
              </a:extLst>
            </p:cNvPr>
            <p:cNvCxnSpPr/>
            <p:nvPr userDrawn="1"/>
          </p:nvCxnSpPr>
          <p:spPr bwMode="inv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AD2CAD56-BA05-4C75-8034-7BE3F452236F}"/>
                </a:ext>
              </a:extLst>
            </p:cNvPr>
            <p:cNvCxnSpPr/>
            <p:nvPr userDrawn="1"/>
          </p:nvCxnSpPr>
          <p:spPr bwMode="inv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790E0245-1DD4-47DE-874E-81EEEC5BC8F7}"/>
                </a:ext>
              </a:extLst>
            </p:cNvPr>
            <p:cNvCxnSpPr/>
            <p:nvPr userDrawn="1"/>
          </p:nvCxnSpPr>
          <p:spPr bwMode="inv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1CFFCCA0-3335-4A1D-ABE0-05033DB06A2E}"/>
                </a:ext>
              </a:extLst>
            </p:cNvPr>
            <p:cNvCxnSpPr/>
            <p:nvPr userDrawn="1"/>
          </p:nvCxnSpPr>
          <p:spPr bwMode="inv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F4D72CB9-C1AD-44DE-9701-7AC2B6FF96CE}"/>
                </a:ext>
              </a:extLst>
            </p:cNvPr>
            <p:cNvCxnSpPr/>
            <p:nvPr userDrawn="1"/>
          </p:nvCxnSpPr>
          <p:spPr bwMode="inv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889B3321-C5E9-4805-BC66-EA0432C4C15B}"/>
                </a:ext>
              </a:extLst>
            </p:cNvPr>
            <p:cNvCxnSpPr/>
            <p:nvPr userDrawn="1"/>
          </p:nvCxnSpPr>
          <p:spPr bwMode="inv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7ACEEB3E-3F13-47FD-9363-059ECF85CA24}"/>
                </a:ext>
              </a:extLst>
            </p:cNvPr>
            <p:cNvCxnSpPr/>
            <p:nvPr userDrawn="1"/>
          </p:nvCxnSpPr>
          <p:spPr bwMode="inv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373AB56B-1DBC-4E4B-A722-E8BD0ECD1B41}"/>
                </a:ext>
              </a:extLst>
            </p:cNvPr>
            <p:cNvCxnSpPr/>
            <p:nvPr userDrawn="1"/>
          </p:nvCxnSpPr>
          <p:spPr bwMode="inv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7406E6C7-24A3-4B83-8726-B30607709EF5}"/>
                </a:ext>
              </a:extLst>
            </p:cNvPr>
            <p:cNvCxnSpPr/>
            <p:nvPr userDrawn="1"/>
          </p:nvCxnSpPr>
          <p:spPr bwMode="inv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ABF470C1-8F17-46A7-9CF6-68959FCC27C5}"/>
                </a:ext>
              </a:extLst>
            </p:cNvPr>
            <p:cNvCxnSpPr/>
            <p:nvPr userDrawn="1"/>
          </p:nvCxnSpPr>
          <p:spPr bwMode="inv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BDFB440D-CD6D-4896-879A-A739507A9DA0}"/>
                </a:ext>
              </a:extLst>
            </p:cNvPr>
            <p:cNvCxnSpPr/>
            <p:nvPr userDrawn="1"/>
          </p:nvCxnSpPr>
          <p:spPr bwMode="inv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213BC5EF-1845-45CB-A034-F5C2FECB524D}"/>
                </a:ext>
              </a:extLst>
            </p:cNvPr>
            <p:cNvCxnSpPr/>
            <p:nvPr userDrawn="1"/>
          </p:nvCxnSpPr>
          <p:spPr bwMode="inv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id="{52206814-DAB9-4959-9312-D81139D2AED1}"/>
                </a:ext>
              </a:extLst>
            </p:cNvPr>
            <p:cNvCxnSpPr/>
            <p:nvPr userDrawn="1"/>
          </p:nvCxnSpPr>
          <p:spPr bwMode="inv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id="{863072DF-59FF-4A0A-BAA0-5A11E1D2E4E3}"/>
                </a:ext>
              </a:extLst>
            </p:cNvPr>
            <p:cNvCxnSpPr/>
            <p:nvPr userDrawn="1"/>
          </p:nvCxnSpPr>
          <p:spPr bwMode="inv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id="{8A4BE5F7-9CDA-49D9-BFEC-F2B196770FC3}"/>
                </a:ext>
              </a:extLst>
            </p:cNvPr>
            <p:cNvCxnSpPr/>
            <p:nvPr userDrawn="1"/>
          </p:nvCxnSpPr>
          <p:spPr bwMode="inv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id="{CC5C0C16-0A28-498B-9C6F-5032271897D0}"/>
                </a:ext>
              </a:extLst>
            </p:cNvPr>
            <p:cNvCxnSpPr/>
            <p:nvPr userDrawn="1"/>
          </p:nvCxnSpPr>
          <p:spPr bwMode="inv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91131945-8EE6-4545-BF8A-AF353687BEB3}"/>
                </a:ext>
              </a:extLst>
            </p:cNvPr>
            <p:cNvCxnSpPr/>
            <p:nvPr userDrawn="1"/>
          </p:nvCxnSpPr>
          <p:spPr bwMode="inv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A75DD299-052D-4F8E-A9FE-D093F95B0FF2}"/>
                </a:ext>
              </a:extLst>
            </p:cNvPr>
            <p:cNvCxnSpPr/>
            <p:nvPr userDrawn="1"/>
          </p:nvCxnSpPr>
          <p:spPr bwMode="inv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id="{58EBC29A-6A7B-40D5-897C-5DEEBEE6A4B2}"/>
                </a:ext>
              </a:extLst>
            </p:cNvPr>
            <p:cNvCxnSpPr/>
            <p:nvPr userDrawn="1"/>
          </p:nvCxnSpPr>
          <p:spPr bwMode="inv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id="{C66B5FDD-F1EC-4F2C-B392-BC178AD8DA90}"/>
                </a:ext>
              </a:extLst>
            </p:cNvPr>
            <p:cNvCxnSpPr/>
            <p:nvPr userDrawn="1"/>
          </p:nvCxnSpPr>
          <p:spPr bwMode="inv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id="{D93E83BE-872E-48AC-9FFE-A9F5597742DF}"/>
                </a:ext>
              </a:extLst>
            </p:cNvPr>
            <p:cNvCxnSpPr/>
            <p:nvPr userDrawn="1"/>
          </p:nvCxnSpPr>
          <p:spPr bwMode="inv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id="{D9D1C528-2748-4906-ABB1-D32D60EC43E0}"/>
                </a:ext>
              </a:extLst>
            </p:cNvPr>
            <p:cNvCxnSpPr/>
            <p:nvPr userDrawn="1"/>
          </p:nvCxnSpPr>
          <p:spPr bwMode="inv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id="{6982271F-16E6-4B46-8B36-C850AA36014C}"/>
                </a:ext>
              </a:extLst>
            </p:cNvPr>
            <p:cNvCxnSpPr/>
            <p:nvPr userDrawn="1"/>
          </p:nvCxnSpPr>
          <p:spPr bwMode="inv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id="{8A678F6B-D7A6-4C5F-A60A-68F375965733}"/>
                </a:ext>
              </a:extLst>
            </p:cNvPr>
            <p:cNvCxnSpPr/>
            <p:nvPr userDrawn="1"/>
          </p:nvCxnSpPr>
          <p:spPr bwMode="inv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id="{B1F16AAE-3D56-49D9-B1F8-CF0D668C4625}"/>
                </a:ext>
              </a:extLst>
            </p:cNvPr>
            <p:cNvCxnSpPr/>
            <p:nvPr userDrawn="1"/>
          </p:nvCxnSpPr>
          <p:spPr bwMode="inv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id="{2146BA71-43F2-4516-96BC-46C1F7150D1F}"/>
                </a:ext>
              </a:extLst>
            </p:cNvPr>
            <p:cNvCxnSpPr/>
            <p:nvPr userDrawn="1"/>
          </p:nvCxnSpPr>
          <p:spPr bwMode="inv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id="{6B2820DA-E0D5-407B-9227-F00335F2855C}"/>
                </a:ext>
              </a:extLst>
            </p:cNvPr>
            <p:cNvCxnSpPr/>
            <p:nvPr userDrawn="1"/>
          </p:nvCxnSpPr>
          <p:spPr bwMode="inv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id="{A6A61357-206A-4A6B-82AD-45174279B301}"/>
                </a:ext>
              </a:extLst>
            </p:cNvPr>
            <p:cNvCxnSpPr/>
            <p:nvPr userDrawn="1"/>
          </p:nvCxnSpPr>
          <p:spPr bwMode="inv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id="{6FD4E7D7-1920-4CDF-8C8E-2C8843C3234E}"/>
                </a:ext>
              </a:extLst>
            </p:cNvPr>
            <p:cNvCxnSpPr/>
            <p:nvPr userDrawn="1"/>
          </p:nvCxnSpPr>
          <p:spPr bwMode="inv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id="{B6B52954-99B2-4CA1-BC58-BC2CE3144C2E}"/>
                </a:ext>
              </a:extLst>
            </p:cNvPr>
            <p:cNvCxnSpPr/>
            <p:nvPr userDrawn="1"/>
          </p:nvCxnSpPr>
          <p:spPr bwMode="inv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id="{A58B8F17-F2CF-4C8B-9384-4763AEB46266}"/>
                </a:ext>
              </a:extLst>
            </p:cNvPr>
            <p:cNvCxnSpPr/>
            <p:nvPr userDrawn="1"/>
          </p:nvCxnSpPr>
          <p:spPr bwMode="inv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id="{BF4D57F3-3690-4C8F-9DD3-6514140E8449}"/>
                </a:ext>
              </a:extLst>
            </p:cNvPr>
            <p:cNvCxnSpPr/>
            <p:nvPr userDrawn="1"/>
          </p:nvCxnSpPr>
          <p:spPr bwMode="inv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6F1248E6-58FC-4800-A342-F266640388C0}"/>
                </a:ext>
              </a:extLst>
            </p:cNvPr>
            <p:cNvCxnSpPr/>
            <p:nvPr userDrawn="1"/>
          </p:nvCxnSpPr>
          <p:spPr bwMode="inv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id="{9B8011EA-A67B-4792-899C-6F30861FB41B}"/>
                </a:ext>
              </a:extLst>
            </p:cNvPr>
            <p:cNvCxnSpPr/>
            <p:nvPr userDrawn="1"/>
          </p:nvCxnSpPr>
          <p:spPr bwMode="inv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id="{4E187538-C1B6-4AB3-9E92-1CBE573E39EA}"/>
                </a:ext>
              </a:extLst>
            </p:cNvPr>
            <p:cNvCxnSpPr/>
            <p:nvPr userDrawn="1"/>
          </p:nvCxnSpPr>
          <p:spPr bwMode="inv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id="{F725F436-5B17-4F6D-B174-9FD6324175C9}"/>
                </a:ext>
              </a:extLst>
            </p:cNvPr>
            <p:cNvCxnSpPr/>
            <p:nvPr userDrawn="1"/>
          </p:nvCxnSpPr>
          <p:spPr bwMode="inv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id="{3DD99996-2943-48E4-B56E-D3F05FDFEC4F}"/>
                </a:ext>
              </a:extLst>
            </p:cNvPr>
            <p:cNvCxnSpPr/>
            <p:nvPr userDrawn="1"/>
          </p:nvCxnSpPr>
          <p:spPr bwMode="inv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id="{E8B8D663-5E52-4EA2-8D3F-41F6121FAE3C}"/>
                </a:ext>
              </a:extLst>
            </p:cNvPr>
            <p:cNvCxnSpPr/>
            <p:nvPr userDrawn="1"/>
          </p:nvCxnSpPr>
          <p:spPr bwMode="inv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id="{11F6EC2A-C5C1-4266-92CE-81F84B827556}"/>
                </a:ext>
              </a:extLst>
            </p:cNvPr>
            <p:cNvCxnSpPr/>
            <p:nvPr userDrawn="1"/>
          </p:nvCxnSpPr>
          <p:spPr bwMode="inv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1" name="main body box">
              <a:extLst>
                <a:ext uri="{FF2B5EF4-FFF2-40B4-BE49-F238E27FC236}">
                  <a16:creationId xmlns:a16="http://schemas.microsoft.com/office/drawing/2014/main" id="{B218B8DC-43D2-4BF0-8019-414A6C978B50}"/>
                </a:ext>
              </a:extLst>
            </p:cNvPr>
            <p:cNvSpPr/>
            <p:nvPr userDrawn="1"/>
          </p:nvSpPr>
          <p:spPr bwMode="invGray">
            <a:xfrm>
              <a:off x="554736" y="1709928"/>
              <a:ext cx="11082528" cy="4507992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id="{F8A6CBCB-2578-43F1-B7A4-69F595E6E013}"/>
                </a:ext>
              </a:extLst>
            </p:cNvPr>
            <p:cNvCxnSpPr/>
            <p:nvPr userDrawn="1"/>
          </p:nvCxnSpPr>
          <p:spPr bwMode="invGray">
            <a:xfrm>
              <a:off x="554736" y="2177796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id="{62E19C48-49CD-490C-82AF-6A807F4A91F8}"/>
                </a:ext>
              </a:extLst>
            </p:cNvPr>
            <p:cNvCxnSpPr/>
            <p:nvPr userDrawn="1"/>
          </p:nvCxnSpPr>
          <p:spPr bwMode="invGray">
            <a:xfrm>
              <a:off x="554736" y="1711453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sp>
        <p:nvSpPr>
          <p:cNvPr id="145" name="4. Footnote" hidden="1">
            <a:extLst>
              <a:ext uri="{FF2B5EF4-FFF2-40B4-BE49-F238E27FC236}">
                <a16:creationId xmlns:a16="http://schemas.microsoft.com/office/drawing/2014/main" id="{56E3DC21-21DB-42FE-8721-1BC0E89F13AE}"/>
              </a:ext>
            </a:extLst>
          </p:cNvPr>
          <p:cNvSpPr txBox="1"/>
          <p:nvPr userDrawn="1">
            <p:custDataLst>
              <p:tags r:id="rId24"/>
            </p:custDataLst>
          </p:nvPr>
        </p:nvSpPr>
        <p:spPr>
          <a:xfrm>
            <a:off x="553972" y="6279028"/>
            <a:ext cx="7278624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1200" dirty="0">
                <a:latin typeface="+mn-lt"/>
                <a:ea typeface="+mn-ea"/>
                <a:cs typeface="Arial" panose="020B0604020202020204" pitchFamily="34" charset="0"/>
              </a:rPr>
              <a:t>Footnotes</a:t>
            </a:r>
          </a:p>
        </p:txBody>
      </p:sp>
      <p:grpSp>
        <p:nvGrpSpPr>
          <p:cNvPr id="185" name="LegendBoxes" hidden="1">
            <a:extLst>
              <a:ext uri="{FF2B5EF4-FFF2-40B4-BE49-F238E27FC236}">
                <a16:creationId xmlns:a16="http://schemas.microsoft.com/office/drawing/2014/main" id="{28785628-9685-42DD-85C6-4A7FDEAEB9E4}"/>
              </a:ext>
            </a:extLst>
          </p:cNvPr>
          <p:cNvGrpSpPr/>
          <p:nvPr userDrawn="1"/>
        </p:nvGrpSpPr>
        <p:grpSpPr>
          <a:xfrm>
            <a:off x="10722394" y="4393208"/>
            <a:ext cx="984864" cy="1717282"/>
            <a:chOff x="9585951" y="2980105"/>
            <a:chExt cx="984864" cy="1717282"/>
          </a:xfrm>
        </p:grpSpPr>
        <p:sp>
          <p:nvSpPr>
            <p:cNvPr id="186" name="RectangleLegend1">
              <a:extLst>
                <a:ext uri="{FF2B5EF4-FFF2-40B4-BE49-F238E27FC236}">
                  <a16:creationId xmlns:a16="http://schemas.microsoft.com/office/drawing/2014/main" id="{F6C915EA-5130-4DA7-8B9A-5E522A1DBE2F}"/>
                </a:ext>
              </a:extLst>
            </p:cNvPr>
            <p:cNvSpPr/>
            <p:nvPr/>
          </p:nvSpPr>
          <p:spPr>
            <a:xfrm>
              <a:off x="9585951" y="3001463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87" name="RectangleLegend2">
              <a:extLst>
                <a:ext uri="{FF2B5EF4-FFF2-40B4-BE49-F238E27FC236}">
                  <a16:creationId xmlns:a16="http://schemas.microsoft.com/office/drawing/2014/main" id="{056BAC0D-94D9-4BAA-A238-909A42CD485B}"/>
                </a:ext>
              </a:extLst>
            </p:cNvPr>
            <p:cNvSpPr/>
            <p:nvPr/>
          </p:nvSpPr>
          <p:spPr>
            <a:xfrm>
              <a:off x="9585951" y="3380961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88" name="RectangleLegend3">
              <a:extLst>
                <a:ext uri="{FF2B5EF4-FFF2-40B4-BE49-F238E27FC236}">
                  <a16:creationId xmlns:a16="http://schemas.microsoft.com/office/drawing/2014/main" id="{BC7BB400-0474-421B-B1C4-D9D83F8D7025}"/>
                </a:ext>
              </a:extLst>
            </p:cNvPr>
            <p:cNvSpPr/>
            <p:nvPr/>
          </p:nvSpPr>
          <p:spPr>
            <a:xfrm>
              <a:off x="9585951" y="3754557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89" name="RectangleLegend4">
              <a:extLst>
                <a:ext uri="{FF2B5EF4-FFF2-40B4-BE49-F238E27FC236}">
                  <a16:creationId xmlns:a16="http://schemas.microsoft.com/office/drawing/2014/main" id="{5D84FBCC-8195-429D-ADA2-ADF26D0822E2}"/>
                </a:ext>
              </a:extLst>
            </p:cNvPr>
            <p:cNvSpPr/>
            <p:nvPr/>
          </p:nvSpPr>
          <p:spPr>
            <a:xfrm>
              <a:off x="9585951" y="4128153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90" name="RectangleLegend5">
              <a:extLst>
                <a:ext uri="{FF2B5EF4-FFF2-40B4-BE49-F238E27FC236}">
                  <a16:creationId xmlns:a16="http://schemas.microsoft.com/office/drawing/2014/main" id="{655825D0-671B-44EC-90C5-7913A4E7BAB9}"/>
                </a:ext>
              </a:extLst>
            </p:cNvPr>
            <p:cNvSpPr/>
            <p:nvPr/>
          </p:nvSpPr>
          <p:spPr>
            <a:xfrm>
              <a:off x="9585951" y="4501749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91" name="Legend1">
              <a:extLst>
                <a:ext uri="{FF2B5EF4-FFF2-40B4-BE49-F238E27FC236}">
                  <a16:creationId xmlns:a16="http://schemas.microsoft.com/office/drawing/2014/main" id="{CD018A8B-4FD0-4C99-AA47-D684D1049136}"/>
                </a:ext>
              </a:extLst>
            </p:cNvPr>
            <p:cNvSpPr txBox="1"/>
            <p:nvPr/>
          </p:nvSpPr>
          <p:spPr>
            <a:xfrm>
              <a:off x="9912097" y="2980105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2" name="Legend2">
              <a:extLst>
                <a:ext uri="{FF2B5EF4-FFF2-40B4-BE49-F238E27FC236}">
                  <a16:creationId xmlns:a16="http://schemas.microsoft.com/office/drawing/2014/main" id="{24E194E3-38A9-4A3A-AEBA-D1DCF1935051}"/>
                </a:ext>
              </a:extLst>
            </p:cNvPr>
            <p:cNvSpPr txBox="1"/>
            <p:nvPr/>
          </p:nvSpPr>
          <p:spPr>
            <a:xfrm>
              <a:off x="9912097" y="3359603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3" name="Legend3">
              <a:extLst>
                <a:ext uri="{FF2B5EF4-FFF2-40B4-BE49-F238E27FC236}">
                  <a16:creationId xmlns:a16="http://schemas.microsoft.com/office/drawing/2014/main" id="{DCCF084D-A8B2-46B3-BE03-CFDA8E58B2B9}"/>
                </a:ext>
              </a:extLst>
            </p:cNvPr>
            <p:cNvSpPr txBox="1"/>
            <p:nvPr/>
          </p:nvSpPr>
          <p:spPr>
            <a:xfrm>
              <a:off x="9912097" y="3739101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4" name="Legend4">
              <a:extLst>
                <a:ext uri="{FF2B5EF4-FFF2-40B4-BE49-F238E27FC236}">
                  <a16:creationId xmlns:a16="http://schemas.microsoft.com/office/drawing/2014/main" id="{0E49468C-EFEE-4C9A-BECB-CC10BE34BF4B}"/>
                </a:ext>
              </a:extLst>
            </p:cNvPr>
            <p:cNvSpPr txBox="1"/>
            <p:nvPr/>
          </p:nvSpPr>
          <p:spPr>
            <a:xfrm>
              <a:off x="9912097" y="4110522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5" name="Legend5">
              <a:extLst>
                <a:ext uri="{FF2B5EF4-FFF2-40B4-BE49-F238E27FC236}">
                  <a16:creationId xmlns:a16="http://schemas.microsoft.com/office/drawing/2014/main" id="{443480AB-89E7-497E-A131-91869590BDB0}"/>
                </a:ext>
              </a:extLst>
            </p:cNvPr>
            <p:cNvSpPr txBox="1"/>
            <p:nvPr/>
          </p:nvSpPr>
          <p:spPr>
            <a:xfrm>
              <a:off x="9912097" y="4481943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</p:grpSp>
      <p:grpSp>
        <p:nvGrpSpPr>
          <p:cNvPr id="146" name="LegendMoons" hidden="1">
            <a:extLst>
              <a:ext uri="{FF2B5EF4-FFF2-40B4-BE49-F238E27FC236}">
                <a16:creationId xmlns:a16="http://schemas.microsoft.com/office/drawing/2014/main" id="{BCBAA4B3-76E3-4E3E-9DFB-193618E70571}"/>
              </a:ext>
            </a:extLst>
          </p:cNvPr>
          <p:cNvGrpSpPr/>
          <p:nvPr userDrawn="1"/>
        </p:nvGrpSpPr>
        <p:grpSpPr>
          <a:xfrm>
            <a:off x="7723680" y="1702457"/>
            <a:ext cx="1023616" cy="1731859"/>
            <a:chOff x="7723680" y="1702457"/>
            <a:chExt cx="1023616" cy="1731859"/>
          </a:xfrm>
        </p:grpSpPr>
        <p:sp>
          <p:nvSpPr>
            <p:cNvPr id="147" name="Legend1">
              <a:extLst>
                <a:ext uri="{FF2B5EF4-FFF2-40B4-BE49-F238E27FC236}">
                  <a16:creationId xmlns:a16="http://schemas.microsoft.com/office/drawing/2014/main" id="{A8F35D73-D259-46FA-AFD2-EA8247EDE0BB}"/>
                </a:ext>
              </a:extLst>
            </p:cNvPr>
            <p:cNvSpPr txBox="1"/>
            <p:nvPr/>
          </p:nvSpPr>
          <p:spPr>
            <a:xfrm>
              <a:off x="8076312" y="1709816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48" name="Legend2">
              <a:extLst>
                <a:ext uri="{FF2B5EF4-FFF2-40B4-BE49-F238E27FC236}">
                  <a16:creationId xmlns:a16="http://schemas.microsoft.com/office/drawing/2014/main" id="{8C810E22-5C1D-4238-A604-CBCDDCB4C05E}"/>
                </a:ext>
              </a:extLst>
            </p:cNvPr>
            <p:cNvSpPr txBox="1"/>
            <p:nvPr/>
          </p:nvSpPr>
          <p:spPr>
            <a:xfrm>
              <a:off x="8076312" y="2085275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49" name="Legend3">
              <a:extLst>
                <a:ext uri="{FF2B5EF4-FFF2-40B4-BE49-F238E27FC236}">
                  <a16:creationId xmlns:a16="http://schemas.microsoft.com/office/drawing/2014/main" id="{E4D11ABD-C458-4D2C-B8BA-1BD7E497965C}"/>
                </a:ext>
              </a:extLst>
            </p:cNvPr>
            <p:cNvSpPr txBox="1"/>
            <p:nvPr/>
          </p:nvSpPr>
          <p:spPr>
            <a:xfrm>
              <a:off x="8076312" y="2460734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50" name="Legend4">
              <a:extLst>
                <a:ext uri="{FF2B5EF4-FFF2-40B4-BE49-F238E27FC236}">
                  <a16:creationId xmlns:a16="http://schemas.microsoft.com/office/drawing/2014/main" id="{6751DA88-7594-4AF8-9B0B-6D236454D486}"/>
                </a:ext>
              </a:extLst>
            </p:cNvPr>
            <p:cNvSpPr txBox="1"/>
            <p:nvPr/>
          </p:nvSpPr>
          <p:spPr>
            <a:xfrm>
              <a:off x="8076312" y="2836193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51" name="Legend5">
              <a:extLst>
                <a:ext uri="{FF2B5EF4-FFF2-40B4-BE49-F238E27FC236}">
                  <a16:creationId xmlns:a16="http://schemas.microsoft.com/office/drawing/2014/main" id="{9BD97B4F-09E8-498D-A862-8771F6492867}"/>
                </a:ext>
              </a:extLst>
            </p:cNvPr>
            <p:cNvSpPr txBox="1"/>
            <p:nvPr/>
          </p:nvSpPr>
          <p:spPr>
            <a:xfrm>
              <a:off x="8076312" y="3211654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grpSp>
          <p:nvGrpSpPr>
            <p:cNvPr id="152" name="MoonLegend1">
              <a:extLst>
                <a:ext uri="{FF2B5EF4-FFF2-40B4-BE49-F238E27FC236}">
                  <a16:creationId xmlns:a16="http://schemas.microsoft.com/office/drawing/2014/main" id="{2D833A59-C7AB-446D-8FF2-91CA9DB3ACEE}"/>
                </a:ext>
              </a:extLst>
            </p:cNvPr>
            <p:cNvGrpSpPr>
              <a:grpSpLocks noChangeAspect="1"/>
            </p:cNvGrpSpPr>
            <p:nvPr>
              <p:custDataLst>
                <p:tags r:id="rId25"/>
              </p:custDataLst>
            </p:nvPr>
          </p:nvGrpSpPr>
          <p:grpSpPr>
            <a:xfrm>
              <a:off x="7723680" y="1702457"/>
              <a:ext cx="228600" cy="228600"/>
              <a:chOff x="762000" y="1270000"/>
              <a:chExt cx="254000" cy="254000"/>
            </a:xfrm>
          </p:grpSpPr>
          <p:sp>
            <p:nvSpPr>
              <p:cNvPr id="165" name="Oval 164">
                <a:extLst>
                  <a:ext uri="{FF2B5EF4-FFF2-40B4-BE49-F238E27FC236}">
                    <a16:creationId xmlns:a16="http://schemas.microsoft.com/office/drawing/2014/main" id="{6FAD167A-470E-49B3-9358-C391E9721499}"/>
                  </a:ext>
                </a:extLst>
              </p:cNvPr>
              <p:cNvSpPr/>
              <p:nvPr>
                <p:custDataLst>
                  <p:tags r:id="rId3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6" name="Arc 165" hidden="1">
                <a:extLst>
                  <a:ext uri="{FF2B5EF4-FFF2-40B4-BE49-F238E27FC236}">
                    <a16:creationId xmlns:a16="http://schemas.microsoft.com/office/drawing/2014/main" id="{2106BC3D-6019-4A97-BF49-95FEE529E3EF}"/>
                  </a:ext>
                </a:extLst>
              </p:cNvPr>
              <p:cNvSpPr/>
              <p:nvPr>
                <p:custDataLst>
                  <p:tags r:id="rId3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53" name="MoonLegend2">
              <a:extLst>
                <a:ext uri="{FF2B5EF4-FFF2-40B4-BE49-F238E27FC236}">
                  <a16:creationId xmlns:a16="http://schemas.microsoft.com/office/drawing/2014/main" id="{290914A9-07C8-4F8C-AD47-74783B1DE6E1}"/>
                </a:ext>
              </a:extLst>
            </p:cNvPr>
            <p:cNvGrpSpPr>
              <a:grpSpLocks noChangeAspect="1"/>
            </p:cNvGrpSpPr>
            <p:nvPr>
              <p:custDataLst>
                <p:tags r:id="rId26"/>
              </p:custDataLst>
            </p:nvPr>
          </p:nvGrpSpPr>
          <p:grpSpPr>
            <a:xfrm>
              <a:off x="7723680" y="2078270"/>
              <a:ext cx="228600" cy="228600"/>
              <a:chOff x="762000" y="1270000"/>
              <a:chExt cx="254000" cy="254000"/>
            </a:xfrm>
          </p:grpSpPr>
          <p:sp>
            <p:nvSpPr>
              <p:cNvPr id="163" name="Oval 162">
                <a:extLst>
                  <a:ext uri="{FF2B5EF4-FFF2-40B4-BE49-F238E27FC236}">
                    <a16:creationId xmlns:a16="http://schemas.microsoft.com/office/drawing/2014/main" id="{14C29FC0-EC32-412C-A1FC-29EF13DE8125}"/>
                  </a:ext>
                </a:extLst>
              </p:cNvPr>
              <p:cNvSpPr/>
              <p:nvPr>
                <p:custDataLst>
                  <p:tags r:id="rId3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4" name="Arc 163">
                <a:extLst>
                  <a:ext uri="{FF2B5EF4-FFF2-40B4-BE49-F238E27FC236}">
                    <a16:creationId xmlns:a16="http://schemas.microsoft.com/office/drawing/2014/main" id="{08217F02-10EE-4BF5-8640-3409A47C5847}"/>
                  </a:ext>
                </a:extLst>
              </p:cNvPr>
              <p:cNvSpPr/>
              <p:nvPr>
                <p:custDataLst>
                  <p:tags r:id="rId3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54" name="MoonLegend3">
              <a:extLst>
                <a:ext uri="{FF2B5EF4-FFF2-40B4-BE49-F238E27FC236}">
                  <a16:creationId xmlns:a16="http://schemas.microsoft.com/office/drawing/2014/main" id="{435D5936-2D97-416D-A834-DF4B9D96A043}"/>
                </a:ext>
              </a:extLst>
            </p:cNvPr>
            <p:cNvGrpSpPr>
              <a:grpSpLocks noChangeAspect="1"/>
            </p:cNvGrpSpPr>
            <p:nvPr>
              <p:custDataLst>
                <p:tags r:id="rId27"/>
              </p:custDataLst>
            </p:nvPr>
          </p:nvGrpSpPr>
          <p:grpSpPr>
            <a:xfrm>
              <a:off x="7723680" y="2454085"/>
              <a:ext cx="228600" cy="228600"/>
              <a:chOff x="762000" y="1270000"/>
              <a:chExt cx="254000" cy="254000"/>
            </a:xfrm>
          </p:grpSpPr>
          <p:sp>
            <p:nvSpPr>
              <p:cNvPr id="161" name="Oval 160">
                <a:extLst>
                  <a:ext uri="{FF2B5EF4-FFF2-40B4-BE49-F238E27FC236}">
                    <a16:creationId xmlns:a16="http://schemas.microsoft.com/office/drawing/2014/main" id="{69BF58B2-CF38-41FB-8EF8-3EE6A3F13980}"/>
                  </a:ext>
                </a:extLst>
              </p:cNvPr>
              <p:cNvSpPr/>
              <p:nvPr>
                <p:custDataLst>
                  <p:tags r:id="rId34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2" name="Arc 161">
                <a:extLst>
                  <a:ext uri="{FF2B5EF4-FFF2-40B4-BE49-F238E27FC236}">
                    <a16:creationId xmlns:a16="http://schemas.microsoft.com/office/drawing/2014/main" id="{9A2D06B2-79B1-475C-A66E-9CB573E98829}"/>
                  </a:ext>
                </a:extLst>
              </p:cNvPr>
              <p:cNvSpPr/>
              <p:nvPr>
                <p:custDataLst>
                  <p:tags r:id="rId3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55" name="MoonLegend4">
              <a:extLst>
                <a:ext uri="{FF2B5EF4-FFF2-40B4-BE49-F238E27FC236}">
                  <a16:creationId xmlns:a16="http://schemas.microsoft.com/office/drawing/2014/main" id="{8EC87CF1-17C2-4BF0-9A01-8C2C8FFFF842}"/>
                </a:ext>
              </a:extLst>
            </p:cNvPr>
            <p:cNvGrpSpPr>
              <a:grpSpLocks noChangeAspect="1"/>
            </p:cNvGrpSpPr>
            <p:nvPr>
              <p:custDataLst>
                <p:tags r:id="rId28"/>
              </p:custDataLst>
            </p:nvPr>
          </p:nvGrpSpPr>
          <p:grpSpPr>
            <a:xfrm>
              <a:off x="7723680" y="2829900"/>
              <a:ext cx="228600" cy="228600"/>
              <a:chOff x="762000" y="1270000"/>
              <a:chExt cx="254000" cy="254000"/>
            </a:xfrm>
          </p:grpSpPr>
          <p:sp>
            <p:nvSpPr>
              <p:cNvPr id="159" name="Oval 158">
                <a:extLst>
                  <a:ext uri="{FF2B5EF4-FFF2-40B4-BE49-F238E27FC236}">
                    <a16:creationId xmlns:a16="http://schemas.microsoft.com/office/drawing/2014/main" id="{3A7C7C4F-14E8-4812-AC35-7D066AEC66E0}"/>
                  </a:ext>
                </a:extLst>
              </p:cNvPr>
              <p:cNvSpPr/>
              <p:nvPr>
                <p:custDataLst>
                  <p:tags r:id="rId3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0" name="Arc 159">
                <a:extLst>
                  <a:ext uri="{FF2B5EF4-FFF2-40B4-BE49-F238E27FC236}">
                    <a16:creationId xmlns:a16="http://schemas.microsoft.com/office/drawing/2014/main" id="{7F7E2EA4-AD8C-4DA3-ACA6-A69404D1E88D}"/>
                  </a:ext>
                </a:extLst>
              </p:cNvPr>
              <p:cNvSpPr/>
              <p:nvPr>
                <p:custDataLst>
                  <p:tags r:id="rId3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56" name="MoonLegend5">
              <a:extLst>
                <a:ext uri="{FF2B5EF4-FFF2-40B4-BE49-F238E27FC236}">
                  <a16:creationId xmlns:a16="http://schemas.microsoft.com/office/drawing/2014/main" id="{BCD87F8B-10B7-4E82-8EC4-F08B412A1736}"/>
                </a:ext>
              </a:extLst>
            </p:cNvPr>
            <p:cNvGrpSpPr>
              <a:grpSpLocks noChangeAspect="1"/>
            </p:cNvGrpSpPr>
            <p:nvPr>
              <p:custDataLst>
                <p:tags r:id="rId29"/>
              </p:custDataLst>
            </p:nvPr>
          </p:nvGrpSpPr>
          <p:grpSpPr>
            <a:xfrm>
              <a:off x="7723680" y="3205716"/>
              <a:ext cx="228600" cy="228600"/>
              <a:chOff x="762000" y="1270000"/>
              <a:chExt cx="254000" cy="254000"/>
            </a:xfrm>
          </p:grpSpPr>
          <p:sp>
            <p:nvSpPr>
              <p:cNvPr id="157" name="Oval 156">
                <a:extLst>
                  <a:ext uri="{FF2B5EF4-FFF2-40B4-BE49-F238E27FC236}">
                    <a16:creationId xmlns:a16="http://schemas.microsoft.com/office/drawing/2014/main" id="{88573FB6-1F3D-4B01-98F6-7E4478BE33EF}"/>
                  </a:ext>
                </a:extLst>
              </p:cNvPr>
              <p:cNvSpPr/>
              <p:nvPr>
                <p:custDataLst>
                  <p:tags r:id="rId3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58" name="Arc 157">
                <a:extLst>
                  <a:ext uri="{FF2B5EF4-FFF2-40B4-BE49-F238E27FC236}">
                    <a16:creationId xmlns:a16="http://schemas.microsoft.com/office/drawing/2014/main" id="{CF3B10D5-50BA-4075-BEDD-5D7FF7BE36E6}"/>
                  </a:ext>
                </a:extLst>
              </p:cNvPr>
              <p:cNvSpPr/>
              <p:nvPr>
                <p:custDataLst>
                  <p:tags r:id="rId3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grpSp>
        <p:nvGrpSpPr>
          <p:cNvPr id="167" name="Sticker" hidden="1">
            <a:extLst>
              <a:ext uri="{FF2B5EF4-FFF2-40B4-BE49-F238E27FC236}">
                <a16:creationId xmlns:a16="http://schemas.microsoft.com/office/drawing/2014/main" id="{174FA759-1A16-45E2-B8DB-6AC61DFC92D4}"/>
              </a:ext>
            </a:extLst>
          </p:cNvPr>
          <p:cNvGrpSpPr>
            <a:grpSpLocks noChangeAspect="1"/>
          </p:cNvGrpSpPr>
          <p:nvPr userDrawn="1"/>
        </p:nvGrpSpPr>
        <p:grpSpPr bwMode="gray">
          <a:xfrm>
            <a:off x="559460" y="1289273"/>
            <a:ext cx="428337" cy="156997"/>
            <a:chOff x="8456447" y="272180"/>
            <a:chExt cx="322188" cy="156966"/>
          </a:xfrm>
        </p:grpSpPr>
        <p:sp>
          <p:nvSpPr>
            <p:cNvPr id="168" name="StickerRectangle">
              <a:extLst>
                <a:ext uri="{FF2B5EF4-FFF2-40B4-BE49-F238E27FC236}">
                  <a16:creationId xmlns:a16="http://schemas.microsoft.com/office/drawing/2014/main" id="{99FB5892-A9FF-4D0E-8661-19A39D5E096E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8456447" y="272180"/>
              <a:ext cx="322188" cy="15696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18288" anchor="t" anchorCtr="0">
              <a:spAutoFit/>
            </a:bodyPr>
            <a:lstStyle/>
            <a:p>
              <a:pPr algn="l" defTabSz="1193860">
                <a:buClr>
                  <a:schemeClr val="tx2"/>
                </a:buClr>
              </a:pPr>
              <a:r>
                <a:rPr lang="en-US" sz="900" b="1" spc="50" dirty="0">
                  <a:ln w="3175">
                    <a:noFill/>
                  </a:ln>
                  <a:solidFill>
                    <a:schemeClr val="tx1"/>
                  </a:solidFill>
                </a:rPr>
                <a:t>Sticker</a:t>
              </a:r>
              <a:endParaRPr lang="en-US" sz="800" baseline="0" dirty="0">
                <a:solidFill>
                  <a:schemeClr val="tx1"/>
                </a:solidFill>
                <a:latin typeface="+mn-lt"/>
                <a:ea typeface="+mn-ea"/>
              </a:endParaRPr>
            </a:p>
          </p:txBody>
        </p:sp>
        <p:cxnSp>
          <p:nvCxnSpPr>
            <p:cNvPr id="169" name="StickerUnderline">
              <a:extLst>
                <a:ext uri="{FF2B5EF4-FFF2-40B4-BE49-F238E27FC236}">
                  <a16:creationId xmlns:a16="http://schemas.microsoft.com/office/drawing/2014/main" id="{B821CB31-49E5-49E7-966F-3C5449557168}"/>
                </a:ext>
              </a:extLst>
            </p:cNvPr>
            <p:cNvCxnSpPr>
              <a:cxnSpLocks noChangeShapeType="1"/>
              <a:stCxn id="168" idx="4"/>
              <a:endCxn id="168" idx="6"/>
            </p:cNvCxnSpPr>
            <p:nvPr/>
          </p:nvCxnSpPr>
          <p:spPr bwMode="gray">
            <a:xfrm>
              <a:off x="8456447" y="429146"/>
              <a:ext cx="322188" cy="0"/>
            </a:xfrm>
            <a:prstGeom prst="straightConnector1">
              <a:avLst/>
            </a:prstGeom>
            <a:noFill/>
            <a:ln w="4191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144" name="LegendLines" hidden="1">
            <a:extLst>
              <a:ext uri="{FF2B5EF4-FFF2-40B4-BE49-F238E27FC236}">
                <a16:creationId xmlns:a16="http://schemas.microsoft.com/office/drawing/2014/main" id="{96520A0D-E8D0-48B5-8162-BA1976A5C3E1}"/>
              </a:ext>
            </a:extLst>
          </p:cNvPr>
          <p:cNvGrpSpPr/>
          <p:nvPr userDrawn="1"/>
        </p:nvGrpSpPr>
        <p:grpSpPr>
          <a:xfrm>
            <a:off x="10300983" y="3275405"/>
            <a:ext cx="1269335" cy="958286"/>
            <a:chOff x="4372690" y="3739101"/>
            <a:chExt cx="1269335" cy="958286"/>
          </a:xfrm>
        </p:grpSpPr>
        <p:sp>
          <p:nvSpPr>
            <p:cNvPr id="170" name="Legend1">
              <a:extLst>
                <a:ext uri="{FF2B5EF4-FFF2-40B4-BE49-F238E27FC236}">
                  <a16:creationId xmlns:a16="http://schemas.microsoft.com/office/drawing/2014/main" id="{D5E27233-7661-43E0-8C1B-859EBE562598}"/>
                </a:ext>
              </a:extLst>
            </p:cNvPr>
            <p:cNvSpPr txBox="1"/>
            <p:nvPr/>
          </p:nvSpPr>
          <p:spPr>
            <a:xfrm>
              <a:off x="4988914" y="3739101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71" name="Legend2">
              <a:extLst>
                <a:ext uri="{FF2B5EF4-FFF2-40B4-BE49-F238E27FC236}">
                  <a16:creationId xmlns:a16="http://schemas.microsoft.com/office/drawing/2014/main" id="{215BA769-FC3A-4971-81E8-16C8E7138029}"/>
                </a:ext>
              </a:extLst>
            </p:cNvPr>
            <p:cNvSpPr txBox="1"/>
            <p:nvPr/>
          </p:nvSpPr>
          <p:spPr>
            <a:xfrm>
              <a:off x="4988914" y="4110522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72" name="Legend3">
              <a:extLst>
                <a:ext uri="{FF2B5EF4-FFF2-40B4-BE49-F238E27FC236}">
                  <a16:creationId xmlns:a16="http://schemas.microsoft.com/office/drawing/2014/main" id="{75880242-A8D7-441D-805E-B817DF5CA854}"/>
                </a:ext>
              </a:extLst>
            </p:cNvPr>
            <p:cNvSpPr txBox="1"/>
            <p:nvPr/>
          </p:nvSpPr>
          <p:spPr>
            <a:xfrm>
              <a:off x="4988914" y="4481943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73" name="LineLegend3">
              <a:extLst>
                <a:ext uri="{FF2B5EF4-FFF2-40B4-BE49-F238E27FC236}">
                  <a16:creationId xmlns:a16="http://schemas.microsoft.com/office/drawing/2014/main" id="{5C3089E9-5649-4103-BA5F-72175F24BEF8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372690" y="4588113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174" name="LineLegend2">
              <a:extLst>
                <a:ext uri="{FF2B5EF4-FFF2-40B4-BE49-F238E27FC236}">
                  <a16:creationId xmlns:a16="http://schemas.microsoft.com/office/drawing/2014/main" id="{70A7CFCE-D526-433E-9FBC-6DEF2F5E9EB4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372690" y="421475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175" name="LineLegend1">
              <a:extLst>
                <a:ext uri="{FF2B5EF4-FFF2-40B4-BE49-F238E27FC236}">
                  <a16:creationId xmlns:a16="http://schemas.microsoft.com/office/drawing/2014/main" id="{4AD9EC0A-8F45-49FA-BB0F-195682A6F6BE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372690" y="3846823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38652524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65" r:id="rId1"/>
    <p:sldLayoutId id="2147483866" r:id="rId2"/>
    <p:sldLayoutId id="2147483867" r:id="rId3"/>
    <p:sldLayoutId id="2147483868" r:id="rId4"/>
    <p:sldLayoutId id="2147483870" r:id="rId5"/>
    <p:sldLayoutId id="2147483871" r:id="rId6"/>
    <p:sldLayoutId id="2147483872" r:id="rId7"/>
    <p:sldLayoutId id="2147483873" r:id="rId8"/>
    <p:sldLayoutId id="2147483874" r:id="rId9"/>
    <p:sldLayoutId id="2147483875" r:id="rId10"/>
    <p:sldLayoutId id="2147483881" r:id="rId11"/>
    <p:sldLayoutId id="2147483880" r:id="rId12"/>
    <p:sldLayoutId id="2147483877" r:id="rId13"/>
    <p:sldLayoutId id="2147483878" r:id="rId14"/>
  </p:sldLayoutIdLst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500" b="1" kern="1200" spc="0" baseline="0">
          <a:ln w="6350" cap="flat">
            <a:noFill/>
            <a:miter lim="800000"/>
          </a:ln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Segoe UI" panose="020B0502040204020203" pitchFamily="34" charset="0"/>
        <a:buChar char="​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228600" indent="-225425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panose="05000000000000000000" pitchFamily="2" charset="2"/>
        <a:buChar char="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2pPr>
      <a:lvl3pPr marL="515938" indent="-287338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—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3pPr>
      <a:lvl4pPr marL="742950" indent="-182563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»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4pPr>
      <a:lvl5pPr marL="914400" indent="-136525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›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5pPr>
      <a:lvl6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7pPr>
      <a:lvl8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8pPr>
      <a:lvl9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68">
          <p15:clr>
            <a:srgbClr val="5ACBF0"/>
          </p15:clr>
        </p15:guide>
        <p15:guide id="3" orient="horz" pos="3912">
          <p15:clr>
            <a:srgbClr val="5ACBF0"/>
          </p15:clr>
        </p15:guide>
        <p15:guide id="4" orient="horz" pos="1075">
          <p15:clr>
            <a:srgbClr val="F26B43"/>
          </p15:clr>
        </p15:guide>
        <p15:guide id="5" pos="7329">
          <p15:clr>
            <a:srgbClr val="F26B43"/>
          </p15:clr>
        </p15:guide>
        <p15:guide id="6" pos="345">
          <p15:clr>
            <a:srgbClr val="F26B43"/>
          </p15:clr>
        </p15:guide>
        <p15:guide id="8" orient="horz" pos="4063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jpeg"/><Relationship Id="rId3" Type="http://schemas.openxmlformats.org/officeDocument/2006/relationships/tags" Target="../tags/tag271.xml"/><Relationship Id="rId7" Type="http://schemas.openxmlformats.org/officeDocument/2006/relationships/image" Target="../media/image7.emf"/><Relationship Id="rId2" Type="http://schemas.openxmlformats.org/officeDocument/2006/relationships/tags" Target="../tags/tag270.xml"/><Relationship Id="rId1" Type="http://schemas.openxmlformats.org/officeDocument/2006/relationships/vmlDrawing" Target="../drawings/vmlDrawing18.vml"/><Relationship Id="rId6" Type="http://schemas.openxmlformats.org/officeDocument/2006/relationships/oleObject" Target="../embeddings/oleObject18.bin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272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2.bin"/><Relationship Id="rId3" Type="http://schemas.openxmlformats.org/officeDocument/2006/relationships/tags" Target="../tags/tag329.xml"/><Relationship Id="rId7" Type="http://schemas.openxmlformats.org/officeDocument/2006/relationships/notesSlide" Target="../notesSlides/notesSlide5.xml"/><Relationship Id="rId2" Type="http://schemas.openxmlformats.org/officeDocument/2006/relationships/tags" Target="../tags/tag328.xml"/><Relationship Id="rId1" Type="http://schemas.openxmlformats.org/officeDocument/2006/relationships/vmlDrawing" Target="../drawings/vmlDrawing27.vml"/><Relationship Id="rId6" Type="http://schemas.openxmlformats.org/officeDocument/2006/relationships/slideLayout" Target="../slideLayouts/slideLayout2.xml"/><Relationship Id="rId5" Type="http://schemas.openxmlformats.org/officeDocument/2006/relationships/tags" Target="../tags/tag331.xml"/><Relationship Id="rId4" Type="http://schemas.openxmlformats.org/officeDocument/2006/relationships/tags" Target="../tags/tag330.xml"/><Relationship Id="rId9" Type="http://schemas.openxmlformats.org/officeDocument/2006/relationships/image" Target="../media/image7.emf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6.xml"/><Relationship Id="rId3" Type="http://schemas.openxmlformats.org/officeDocument/2006/relationships/tags" Target="../tags/tag333.xml"/><Relationship Id="rId7" Type="http://schemas.openxmlformats.org/officeDocument/2006/relationships/slideLayout" Target="../slideLayouts/slideLayout2.xml"/><Relationship Id="rId12" Type="http://schemas.openxmlformats.org/officeDocument/2006/relationships/image" Target="../media/image23.svg"/><Relationship Id="rId2" Type="http://schemas.openxmlformats.org/officeDocument/2006/relationships/tags" Target="../tags/tag332.xml"/><Relationship Id="rId1" Type="http://schemas.openxmlformats.org/officeDocument/2006/relationships/vmlDrawing" Target="../drawings/vmlDrawing28.vml"/><Relationship Id="rId6" Type="http://schemas.openxmlformats.org/officeDocument/2006/relationships/tags" Target="../tags/tag336.xml"/><Relationship Id="rId11" Type="http://schemas.openxmlformats.org/officeDocument/2006/relationships/image" Target="../media/image22.png"/><Relationship Id="rId5" Type="http://schemas.openxmlformats.org/officeDocument/2006/relationships/tags" Target="../tags/tag335.xml"/><Relationship Id="rId10" Type="http://schemas.openxmlformats.org/officeDocument/2006/relationships/image" Target="../media/image7.emf"/><Relationship Id="rId4" Type="http://schemas.openxmlformats.org/officeDocument/2006/relationships/tags" Target="../tags/tag334.xml"/><Relationship Id="rId9" Type="http://schemas.openxmlformats.org/officeDocument/2006/relationships/oleObject" Target="../embeddings/oleObject23.bin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tags" Target="../tags/tag274.xml"/><Relationship Id="rId7" Type="http://schemas.openxmlformats.org/officeDocument/2006/relationships/image" Target="../media/image7.emf"/><Relationship Id="rId2" Type="http://schemas.openxmlformats.org/officeDocument/2006/relationships/tags" Target="../tags/tag273.xml"/><Relationship Id="rId1" Type="http://schemas.openxmlformats.org/officeDocument/2006/relationships/vmlDrawing" Target="../drawings/vmlDrawing19.vml"/><Relationship Id="rId6" Type="http://schemas.openxmlformats.org/officeDocument/2006/relationships/oleObject" Target="../embeddings/oleObject19.bin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275.xml"/><Relationship Id="rId9" Type="http://schemas.openxmlformats.org/officeDocument/2006/relationships/image" Target="../media/image10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tags" Target="../tags/tag277.xml"/><Relationship Id="rId7" Type="http://schemas.openxmlformats.org/officeDocument/2006/relationships/image" Target="../media/image7.emf"/><Relationship Id="rId2" Type="http://schemas.openxmlformats.org/officeDocument/2006/relationships/tags" Target="../tags/tag276.xml"/><Relationship Id="rId1" Type="http://schemas.openxmlformats.org/officeDocument/2006/relationships/vmlDrawing" Target="../drawings/vmlDrawing20.vml"/><Relationship Id="rId6" Type="http://schemas.openxmlformats.org/officeDocument/2006/relationships/oleObject" Target="../embeddings/oleObject20.bin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278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tags" Target="../tags/tag285.xml"/><Relationship Id="rId13" Type="http://schemas.openxmlformats.org/officeDocument/2006/relationships/image" Target="../media/image7.emf"/><Relationship Id="rId18" Type="http://schemas.openxmlformats.org/officeDocument/2006/relationships/image" Target="../media/image16.png"/><Relationship Id="rId3" Type="http://schemas.openxmlformats.org/officeDocument/2006/relationships/tags" Target="../tags/tag280.xml"/><Relationship Id="rId21" Type="http://schemas.openxmlformats.org/officeDocument/2006/relationships/image" Target="../media/image19.svg"/><Relationship Id="rId7" Type="http://schemas.openxmlformats.org/officeDocument/2006/relationships/tags" Target="../tags/tag284.xml"/><Relationship Id="rId12" Type="http://schemas.openxmlformats.org/officeDocument/2006/relationships/oleObject" Target="../embeddings/oleObject21.bin"/><Relationship Id="rId17" Type="http://schemas.openxmlformats.org/officeDocument/2006/relationships/image" Target="../media/image15.svg"/><Relationship Id="rId2" Type="http://schemas.openxmlformats.org/officeDocument/2006/relationships/tags" Target="../tags/tag279.xml"/><Relationship Id="rId16" Type="http://schemas.openxmlformats.org/officeDocument/2006/relationships/image" Target="../media/image14.png"/><Relationship Id="rId20" Type="http://schemas.openxmlformats.org/officeDocument/2006/relationships/image" Target="../media/image18.png"/><Relationship Id="rId1" Type="http://schemas.openxmlformats.org/officeDocument/2006/relationships/vmlDrawing" Target="../drawings/vmlDrawing21.vml"/><Relationship Id="rId6" Type="http://schemas.openxmlformats.org/officeDocument/2006/relationships/tags" Target="../tags/tag283.xml"/><Relationship Id="rId11" Type="http://schemas.openxmlformats.org/officeDocument/2006/relationships/slideLayout" Target="../slideLayouts/slideLayout2.xml"/><Relationship Id="rId5" Type="http://schemas.openxmlformats.org/officeDocument/2006/relationships/tags" Target="../tags/tag282.xml"/><Relationship Id="rId15" Type="http://schemas.openxmlformats.org/officeDocument/2006/relationships/image" Target="../media/image13.svg"/><Relationship Id="rId10" Type="http://schemas.openxmlformats.org/officeDocument/2006/relationships/tags" Target="../tags/tag287.xml"/><Relationship Id="rId19" Type="http://schemas.openxmlformats.org/officeDocument/2006/relationships/image" Target="../media/image17.svg"/><Relationship Id="rId4" Type="http://schemas.openxmlformats.org/officeDocument/2006/relationships/tags" Target="../tags/tag281.xml"/><Relationship Id="rId9" Type="http://schemas.openxmlformats.org/officeDocument/2006/relationships/tags" Target="../tags/tag286.xml"/><Relationship Id="rId14" Type="http://schemas.openxmlformats.org/officeDocument/2006/relationships/image" Target="../media/image12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tags" Target="../tags/tag294.xml"/><Relationship Id="rId13" Type="http://schemas.openxmlformats.org/officeDocument/2006/relationships/image" Target="../media/image7.emf"/><Relationship Id="rId18" Type="http://schemas.openxmlformats.org/officeDocument/2006/relationships/image" Target="../media/image16.png"/><Relationship Id="rId3" Type="http://schemas.openxmlformats.org/officeDocument/2006/relationships/tags" Target="../tags/tag289.xml"/><Relationship Id="rId21" Type="http://schemas.openxmlformats.org/officeDocument/2006/relationships/image" Target="../media/image19.svg"/><Relationship Id="rId7" Type="http://schemas.openxmlformats.org/officeDocument/2006/relationships/tags" Target="../tags/tag293.xml"/><Relationship Id="rId12" Type="http://schemas.openxmlformats.org/officeDocument/2006/relationships/oleObject" Target="../embeddings/oleObject21.bin"/><Relationship Id="rId17" Type="http://schemas.openxmlformats.org/officeDocument/2006/relationships/image" Target="../media/image15.svg"/><Relationship Id="rId2" Type="http://schemas.openxmlformats.org/officeDocument/2006/relationships/tags" Target="../tags/tag288.xml"/><Relationship Id="rId16" Type="http://schemas.openxmlformats.org/officeDocument/2006/relationships/image" Target="../media/image14.png"/><Relationship Id="rId20" Type="http://schemas.openxmlformats.org/officeDocument/2006/relationships/image" Target="../media/image18.png"/><Relationship Id="rId1" Type="http://schemas.openxmlformats.org/officeDocument/2006/relationships/vmlDrawing" Target="../drawings/vmlDrawing22.vml"/><Relationship Id="rId6" Type="http://schemas.openxmlformats.org/officeDocument/2006/relationships/tags" Target="../tags/tag292.xml"/><Relationship Id="rId11" Type="http://schemas.openxmlformats.org/officeDocument/2006/relationships/slideLayout" Target="../slideLayouts/slideLayout2.xml"/><Relationship Id="rId5" Type="http://schemas.openxmlformats.org/officeDocument/2006/relationships/tags" Target="../tags/tag291.xml"/><Relationship Id="rId15" Type="http://schemas.openxmlformats.org/officeDocument/2006/relationships/image" Target="../media/image13.svg"/><Relationship Id="rId10" Type="http://schemas.openxmlformats.org/officeDocument/2006/relationships/tags" Target="../tags/tag296.xml"/><Relationship Id="rId19" Type="http://schemas.openxmlformats.org/officeDocument/2006/relationships/image" Target="../media/image17.svg"/><Relationship Id="rId4" Type="http://schemas.openxmlformats.org/officeDocument/2006/relationships/tags" Target="../tags/tag290.xml"/><Relationship Id="rId9" Type="http://schemas.openxmlformats.org/officeDocument/2006/relationships/tags" Target="../tags/tag295.xml"/><Relationship Id="rId14" Type="http://schemas.openxmlformats.org/officeDocument/2006/relationships/image" Target="../media/image12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tags" Target="../tags/tag303.xml"/><Relationship Id="rId13" Type="http://schemas.openxmlformats.org/officeDocument/2006/relationships/tags" Target="../tags/tag308.xml"/><Relationship Id="rId18" Type="http://schemas.openxmlformats.org/officeDocument/2006/relationships/tags" Target="../tags/tag313.xml"/><Relationship Id="rId3" Type="http://schemas.openxmlformats.org/officeDocument/2006/relationships/tags" Target="../tags/tag298.xml"/><Relationship Id="rId21" Type="http://schemas.openxmlformats.org/officeDocument/2006/relationships/oleObject" Target="../embeddings/oleObject22.bin"/><Relationship Id="rId7" Type="http://schemas.openxmlformats.org/officeDocument/2006/relationships/tags" Target="../tags/tag302.xml"/><Relationship Id="rId12" Type="http://schemas.openxmlformats.org/officeDocument/2006/relationships/tags" Target="../tags/tag307.xml"/><Relationship Id="rId17" Type="http://schemas.openxmlformats.org/officeDocument/2006/relationships/tags" Target="../tags/tag312.xml"/><Relationship Id="rId2" Type="http://schemas.openxmlformats.org/officeDocument/2006/relationships/tags" Target="../tags/tag297.xml"/><Relationship Id="rId16" Type="http://schemas.openxmlformats.org/officeDocument/2006/relationships/tags" Target="../tags/tag311.xml"/><Relationship Id="rId20" Type="http://schemas.openxmlformats.org/officeDocument/2006/relationships/notesSlide" Target="../notesSlides/notesSlide1.xml"/><Relationship Id="rId1" Type="http://schemas.openxmlformats.org/officeDocument/2006/relationships/vmlDrawing" Target="../drawings/vmlDrawing23.vml"/><Relationship Id="rId6" Type="http://schemas.openxmlformats.org/officeDocument/2006/relationships/tags" Target="../tags/tag301.xml"/><Relationship Id="rId11" Type="http://schemas.openxmlformats.org/officeDocument/2006/relationships/tags" Target="../tags/tag306.xml"/><Relationship Id="rId5" Type="http://schemas.openxmlformats.org/officeDocument/2006/relationships/tags" Target="../tags/tag300.xml"/><Relationship Id="rId15" Type="http://schemas.openxmlformats.org/officeDocument/2006/relationships/tags" Target="../tags/tag310.xml"/><Relationship Id="rId10" Type="http://schemas.openxmlformats.org/officeDocument/2006/relationships/tags" Target="../tags/tag305.xml"/><Relationship Id="rId19" Type="http://schemas.openxmlformats.org/officeDocument/2006/relationships/slideLayout" Target="../slideLayouts/slideLayout2.xml"/><Relationship Id="rId4" Type="http://schemas.openxmlformats.org/officeDocument/2006/relationships/tags" Target="../tags/tag299.xml"/><Relationship Id="rId9" Type="http://schemas.openxmlformats.org/officeDocument/2006/relationships/tags" Target="../tags/tag304.xml"/><Relationship Id="rId14" Type="http://schemas.openxmlformats.org/officeDocument/2006/relationships/tags" Target="../tags/tag309.xml"/><Relationship Id="rId22" Type="http://schemas.openxmlformats.org/officeDocument/2006/relationships/image" Target="../media/image7.emf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2.xml"/><Relationship Id="rId3" Type="http://schemas.openxmlformats.org/officeDocument/2006/relationships/tags" Target="../tags/tag315.xml"/><Relationship Id="rId7" Type="http://schemas.openxmlformats.org/officeDocument/2006/relationships/slideLayout" Target="../slideLayouts/slideLayout2.xml"/><Relationship Id="rId2" Type="http://schemas.openxmlformats.org/officeDocument/2006/relationships/tags" Target="../tags/tag314.xml"/><Relationship Id="rId1" Type="http://schemas.openxmlformats.org/officeDocument/2006/relationships/vmlDrawing" Target="../drawings/vmlDrawing24.vml"/><Relationship Id="rId6" Type="http://schemas.openxmlformats.org/officeDocument/2006/relationships/tags" Target="../tags/tag318.xml"/><Relationship Id="rId11" Type="http://schemas.openxmlformats.org/officeDocument/2006/relationships/image" Target="../media/image20.png"/><Relationship Id="rId5" Type="http://schemas.openxmlformats.org/officeDocument/2006/relationships/tags" Target="../tags/tag317.xml"/><Relationship Id="rId10" Type="http://schemas.openxmlformats.org/officeDocument/2006/relationships/image" Target="../media/image7.emf"/><Relationship Id="rId4" Type="http://schemas.openxmlformats.org/officeDocument/2006/relationships/tags" Target="../tags/tag316.xml"/><Relationship Id="rId9" Type="http://schemas.openxmlformats.org/officeDocument/2006/relationships/oleObject" Target="../embeddings/oleObject21.bin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3.xml"/><Relationship Id="rId3" Type="http://schemas.openxmlformats.org/officeDocument/2006/relationships/tags" Target="../tags/tag320.xml"/><Relationship Id="rId7" Type="http://schemas.openxmlformats.org/officeDocument/2006/relationships/slideLayout" Target="../slideLayouts/slideLayout2.xml"/><Relationship Id="rId2" Type="http://schemas.openxmlformats.org/officeDocument/2006/relationships/tags" Target="../tags/tag319.xml"/><Relationship Id="rId1" Type="http://schemas.openxmlformats.org/officeDocument/2006/relationships/vmlDrawing" Target="../drawings/vmlDrawing25.vml"/><Relationship Id="rId6" Type="http://schemas.openxmlformats.org/officeDocument/2006/relationships/tags" Target="../tags/tag323.xml"/><Relationship Id="rId5" Type="http://schemas.openxmlformats.org/officeDocument/2006/relationships/tags" Target="../tags/tag322.xml"/><Relationship Id="rId10" Type="http://schemas.openxmlformats.org/officeDocument/2006/relationships/image" Target="../media/image7.emf"/><Relationship Id="rId4" Type="http://schemas.openxmlformats.org/officeDocument/2006/relationships/tags" Target="../tags/tag321.xml"/><Relationship Id="rId9" Type="http://schemas.openxmlformats.org/officeDocument/2006/relationships/oleObject" Target="../embeddings/oleObject22.bin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2.bin"/><Relationship Id="rId3" Type="http://schemas.openxmlformats.org/officeDocument/2006/relationships/tags" Target="../tags/tag325.xml"/><Relationship Id="rId7" Type="http://schemas.openxmlformats.org/officeDocument/2006/relationships/notesSlide" Target="../notesSlides/notesSlide4.xml"/><Relationship Id="rId2" Type="http://schemas.openxmlformats.org/officeDocument/2006/relationships/tags" Target="../tags/tag324.xml"/><Relationship Id="rId1" Type="http://schemas.openxmlformats.org/officeDocument/2006/relationships/vmlDrawing" Target="../drawings/vmlDrawing26.vml"/><Relationship Id="rId6" Type="http://schemas.openxmlformats.org/officeDocument/2006/relationships/slideLayout" Target="../slideLayouts/slideLayout2.xml"/><Relationship Id="rId5" Type="http://schemas.openxmlformats.org/officeDocument/2006/relationships/tags" Target="../tags/tag327.xml"/><Relationship Id="rId10" Type="http://schemas.openxmlformats.org/officeDocument/2006/relationships/image" Target="../media/image21.png"/><Relationship Id="rId4" Type="http://schemas.openxmlformats.org/officeDocument/2006/relationships/tags" Target="../tags/tag326.xml"/><Relationship Id="rId9" Type="http://schemas.openxmlformats.org/officeDocument/2006/relationships/image" Target="../media/image7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4B434660-1261-48E5-8933-EB94877B9D0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641357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8916" name="think-cell Slide" r:id="rId6" imgW="473" imgH="473" progId="TCLayout.ActiveDocument.1">
                  <p:embed/>
                </p:oleObj>
              </mc:Choice>
              <mc:Fallback>
                <p:oleObj name="think-cell Slide" r:id="rId6" imgW="473" imgH="47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BB9CACBD-737F-4BDF-A989-7F26F15FB95F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2500" b="1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2" name="2. Slide Title">
            <a:extLst>
              <a:ext uri="{FF2B5EF4-FFF2-40B4-BE49-F238E27FC236}">
                <a16:creationId xmlns:a16="http://schemas.microsoft.com/office/drawing/2014/main" id="{857032F3-262D-4276-B710-7C60D3600297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/>
        <p:txBody>
          <a:bodyPr/>
          <a:lstStyle/>
          <a:p>
            <a:r>
              <a:rPr lang="en-US" dirty="0" err="1"/>
              <a:t>Rushhour</a:t>
            </a:r>
            <a:endParaRPr lang="en-US" dirty="0"/>
          </a:p>
        </p:txBody>
      </p:sp>
      <p:pic>
        <p:nvPicPr>
          <p:cNvPr id="7" name="Picture 307" descr="https://theorie.mprog.nl/course/cases/Rush%20Hour/Rushhour6x6_1.jpg">
            <a:extLst>
              <a:ext uri="{FF2B5EF4-FFF2-40B4-BE49-F238E27FC236}">
                <a16:creationId xmlns:a16="http://schemas.microsoft.com/office/drawing/2014/main" id="{50B22BD6-DD88-49C1-A705-FBD4EA1D105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31920" y="1489393"/>
            <a:ext cx="4533900" cy="48196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TextBox 20">
            <a:extLst>
              <a:ext uri="{FF2B5EF4-FFF2-40B4-BE49-F238E27FC236}">
                <a16:creationId xmlns:a16="http://schemas.microsoft.com/office/drawing/2014/main" id="{8876F2A8-1306-0446-8D0D-14C6817578DC}"/>
              </a:ext>
            </a:extLst>
          </p:cNvPr>
          <p:cNvSpPr txBox="1"/>
          <p:nvPr/>
        </p:nvSpPr>
        <p:spPr>
          <a:xfrm>
            <a:off x="9133791" y="1690915"/>
            <a:ext cx="2514600" cy="4508927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3175" lvl="1" indent="0">
              <a:buNone/>
            </a:pPr>
            <a:r>
              <a:rPr lang="en-US" sz="1400" b="1" dirty="0"/>
              <a:t>State space of empty spots</a:t>
            </a:r>
          </a:p>
          <a:p>
            <a:pPr marL="3175" lvl="1" indent="0">
              <a:buNone/>
            </a:pPr>
            <a:r>
              <a:rPr lang="en-US" sz="1400" dirty="0"/>
              <a:t>36! = 1.6783439e+21</a:t>
            </a:r>
          </a:p>
          <a:p>
            <a:pPr marL="3175" lvl="1" indent="0">
              <a:buNone/>
            </a:pPr>
            <a:endParaRPr lang="en-US" sz="1400" dirty="0"/>
          </a:p>
          <a:p>
            <a:pPr marL="3175" lvl="1" indent="0">
              <a:buNone/>
            </a:pPr>
            <a:r>
              <a:rPr lang="en-US" sz="1400" b="1" dirty="0"/>
              <a:t>State space of two-space cars</a:t>
            </a:r>
          </a:p>
          <a:p>
            <a:pPr marL="3175" lvl="1" indent="0">
              <a:buNone/>
            </a:pPr>
            <a:r>
              <a:rPr lang="en-US" sz="1400" dirty="0"/>
              <a:t>36×34×32×30×28×26×24×22×20×18×</a:t>
            </a:r>
          </a:p>
          <a:p>
            <a:pPr marL="3175" lvl="1" indent="0">
              <a:buNone/>
            </a:pPr>
            <a:r>
              <a:rPr lang="en-US" sz="1400" dirty="0"/>
              <a:t>16×14×12×10×8×6×4×2 = 1.6783439e+21</a:t>
            </a:r>
          </a:p>
          <a:p>
            <a:pPr marL="3175" lvl="1" indent="0">
              <a:buNone/>
            </a:pPr>
            <a:endParaRPr lang="en-US" sz="1400" dirty="0"/>
          </a:p>
          <a:p>
            <a:pPr marL="3175" lvl="1" indent="0">
              <a:buNone/>
            </a:pPr>
            <a:r>
              <a:rPr lang="en-US" sz="1400" b="1" dirty="0"/>
              <a:t>State space of two-space cars</a:t>
            </a:r>
          </a:p>
          <a:p>
            <a:pPr marL="3175" lvl="1" indent="0">
              <a:buNone/>
            </a:pPr>
            <a:r>
              <a:rPr lang="en-US" sz="1400" dirty="0"/>
              <a:t>36×33×30×27×24×21×18×15×12×9×6×3 = 2.5456109e+14</a:t>
            </a:r>
          </a:p>
          <a:p>
            <a:pPr marL="3175" lvl="1" indent="0">
              <a:buNone/>
            </a:pPr>
            <a:endParaRPr lang="en-US" sz="1400" dirty="0"/>
          </a:p>
          <a:p>
            <a:pPr marL="3175" lvl="1" indent="0">
              <a:buNone/>
            </a:pPr>
            <a:r>
              <a:rPr lang="en-US" sz="1400" b="1" dirty="0"/>
              <a:t>State of board 6x6, game 1</a:t>
            </a:r>
          </a:p>
          <a:p>
            <a:pPr marL="3175" lvl="1" indent="0">
              <a:buNone/>
            </a:pPr>
            <a:r>
              <a:rPr lang="en-US" sz="1400" dirty="0"/>
              <a:t>2 x 2 x 3 x 3 x 5 x 3 x 3 x 5 x 5 x 4 x 3 x 3 x 5 =  7.290.000</a:t>
            </a:r>
          </a:p>
          <a:p>
            <a:pPr marL="3175" lvl="1" indent="0">
              <a:buNone/>
            </a:pPr>
            <a:endParaRPr lang="en-US" sz="1100" dirty="0"/>
          </a:p>
        </p:txBody>
      </p:sp>
      <p:sp>
        <p:nvSpPr>
          <p:cNvPr id="10" name="Arrow: Chevron 33">
            <a:extLst>
              <a:ext uri="{FF2B5EF4-FFF2-40B4-BE49-F238E27FC236}">
                <a16:creationId xmlns:a16="http://schemas.microsoft.com/office/drawing/2014/main" id="{AAADD84F-75E8-DF4C-AC45-42B641E97DE1}"/>
              </a:ext>
            </a:extLst>
          </p:cNvPr>
          <p:cNvSpPr/>
          <p:nvPr/>
        </p:nvSpPr>
        <p:spPr>
          <a:xfrm>
            <a:off x="8693658" y="935052"/>
            <a:ext cx="484632" cy="484632"/>
          </a:xfrm>
          <a:prstGeom prst="chevron">
            <a:avLst/>
          </a:prstGeom>
          <a:solidFill>
            <a:schemeClr val="accent2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11" name="Arrow: Chevron 43">
            <a:extLst>
              <a:ext uri="{FF2B5EF4-FFF2-40B4-BE49-F238E27FC236}">
                <a16:creationId xmlns:a16="http://schemas.microsoft.com/office/drawing/2014/main" id="{C666865D-1006-A043-B1EF-D886856B36DA}"/>
              </a:ext>
            </a:extLst>
          </p:cNvPr>
          <p:cNvSpPr/>
          <p:nvPr/>
        </p:nvSpPr>
        <p:spPr>
          <a:xfrm>
            <a:off x="8686799" y="1019192"/>
            <a:ext cx="343341" cy="343341"/>
          </a:xfrm>
          <a:prstGeom prst="chevron">
            <a:avLst/>
          </a:prstGeom>
          <a:solidFill>
            <a:schemeClr val="accent3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12" name="TextBox 47">
            <a:extLst>
              <a:ext uri="{FF2B5EF4-FFF2-40B4-BE49-F238E27FC236}">
                <a16:creationId xmlns:a16="http://schemas.microsoft.com/office/drawing/2014/main" id="{DA36E638-8C2D-1D4A-AA58-B8C4895F79AE}"/>
              </a:ext>
            </a:extLst>
          </p:cNvPr>
          <p:cNvSpPr txBox="1"/>
          <p:nvPr/>
        </p:nvSpPr>
        <p:spPr>
          <a:xfrm>
            <a:off x="9167230" y="1321344"/>
            <a:ext cx="2447722" cy="307777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US" sz="2000" b="1" dirty="0">
                <a:cs typeface="+mn-cs"/>
              </a:rPr>
              <a:t>State space</a:t>
            </a:r>
            <a:endParaRPr lang="en-US" dirty="0">
              <a:cs typeface="+mn-cs"/>
            </a:endParaRPr>
          </a:p>
        </p:txBody>
      </p:sp>
      <p:sp>
        <p:nvSpPr>
          <p:cNvPr id="13" name="TextBox 115">
            <a:extLst>
              <a:ext uri="{FF2B5EF4-FFF2-40B4-BE49-F238E27FC236}">
                <a16:creationId xmlns:a16="http://schemas.microsoft.com/office/drawing/2014/main" id="{C4C4037A-8105-A34D-974E-4796E4E2733C}"/>
              </a:ext>
            </a:extLst>
          </p:cNvPr>
          <p:cNvSpPr txBox="1"/>
          <p:nvPr/>
        </p:nvSpPr>
        <p:spPr>
          <a:xfrm>
            <a:off x="573689" y="5308769"/>
            <a:ext cx="2514600" cy="1000274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3175" lvl="1" indent="0">
              <a:buNone/>
            </a:pPr>
            <a:r>
              <a:rPr lang="en-US" sz="1100" dirty="0"/>
              <a:t>Bart </a:t>
            </a:r>
            <a:r>
              <a:rPr lang="en-US" sz="1100" dirty="0" err="1"/>
              <a:t>Zeeuw</a:t>
            </a:r>
            <a:r>
              <a:rPr lang="en-US" sz="1100" dirty="0"/>
              <a:t> van der </a:t>
            </a:r>
            <a:r>
              <a:rPr lang="en-US" sz="1100" dirty="0" err="1"/>
              <a:t>Laan</a:t>
            </a:r>
            <a:endParaRPr lang="en-US" sz="1100" dirty="0"/>
          </a:p>
          <a:p>
            <a:pPr marL="3175" lvl="1" indent="0">
              <a:buNone/>
            </a:pPr>
            <a:r>
              <a:rPr lang="en-US" sz="1100" dirty="0"/>
              <a:t>Paloma van </a:t>
            </a:r>
            <a:r>
              <a:rPr lang="en-US" sz="1100" dirty="0" err="1"/>
              <a:t>Moerkerken</a:t>
            </a:r>
            <a:endParaRPr lang="en-US" sz="1100" dirty="0"/>
          </a:p>
          <a:p>
            <a:pPr marL="3175" lvl="1" indent="0">
              <a:buNone/>
            </a:pPr>
            <a:r>
              <a:rPr lang="en-US" sz="1100" dirty="0"/>
              <a:t>Floor </a:t>
            </a:r>
            <a:r>
              <a:rPr lang="en-US" sz="1100" dirty="0" err="1"/>
              <a:t>Berkhout</a:t>
            </a:r>
            <a:endParaRPr lang="en-US" sz="1100" dirty="0"/>
          </a:p>
          <a:p>
            <a:pPr marL="3175" lvl="1" indent="0">
              <a:buNone/>
            </a:pPr>
            <a:endParaRPr lang="en-US" sz="1100" dirty="0"/>
          </a:p>
          <a:p>
            <a:pPr marL="3175" lvl="1" indent="0">
              <a:buNone/>
            </a:pPr>
            <a:r>
              <a:rPr lang="en-US" sz="1100" dirty="0"/>
              <a:t>Commit4life</a:t>
            </a:r>
          </a:p>
        </p:txBody>
      </p:sp>
    </p:spTree>
    <p:extLst>
      <p:ext uri="{BB962C8B-B14F-4D97-AF65-F5344CB8AC3E}">
        <p14:creationId xmlns:p14="http://schemas.microsoft.com/office/powerpoint/2010/main" val="42510987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2" hidden="1">
            <a:extLst>
              <a:ext uri="{FF2B5EF4-FFF2-40B4-BE49-F238E27FC236}">
                <a16:creationId xmlns:a16="http://schemas.microsoft.com/office/drawing/2014/main" id="{F335BC2E-68E6-43FC-ACED-AE46FEFCA151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5243"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6" name="Object 2" hidden="1">
                        <a:extLst>
                          <a:ext uri="{FF2B5EF4-FFF2-40B4-BE49-F238E27FC236}">
                            <a16:creationId xmlns:a16="http://schemas.microsoft.com/office/drawing/2014/main" id="{F335BC2E-68E6-43FC-ACED-AE46FEFCA1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" hidden="1">
            <a:extLst>
              <a:ext uri="{FF2B5EF4-FFF2-40B4-BE49-F238E27FC236}">
                <a16:creationId xmlns:a16="http://schemas.microsoft.com/office/drawing/2014/main" id="{AD4AD15D-56CF-4D77-8F3A-A842E4773D48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2500" b="1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461846" name="2. Slide Title"/>
          <p:cNvSpPr>
            <a:spLocks noGrp="1" noChangeArrowheads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321067"/>
            <a:ext cx="11082528" cy="731520"/>
          </a:xfrm>
        </p:spPr>
        <p:txBody>
          <a:bodyPr/>
          <a:lstStyle/>
          <a:p>
            <a:r>
              <a:rPr lang="en-US" dirty="0"/>
              <a:t>Looking forward</a:t>
            </a:r>
          </a:p>
        </p:txBody>
      </p:sp>
      <p:sp>
        <p:nvSpPr>
          <p:cNvPr id="8" name="Tekstvak 7">
            <a:extLst>
              <a:ext uri="{FF2B5EF4-FFF2-40B4-BE49-F238E27FC236}">
                <a16:creationId xmlns:a16="http://schemas.microsoft.com/office/drawing/2014/main" id="{5DE0AC30-1B60-274B-8574-A98928F04B13}"/>
              </a:ext>
            </a:extLst>
          </p:cNvPr>
          <p:cNvSpPr txBox="1"/>
          <p:nvPr/>
        </p:nvSpPr>
        <p:spPr>
          <a:xfrm>
            <a:off x="10338619" y="1194619"/>
            <a:ext cx="0" cy="0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>
            <a:no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endParaRPr lang="nl-NL" sz="1600" dirty="0"/>
          </a:p>
        </p:txBody>
      </p:sp>
      <p:sp>
        <p:nvSpPr>
          <p:cNvPr id="9" name="Tekstvak 8">
            <a:extLst>
              <a:ext uri="{FF2B5EF4-FFF2-40B4-BE49-F238E27FC236}">
                <a16:creationId xmlns:a16="http://schemas.microsoft.com/office/drawing/2014/main" id="{959602F9-2A57-5C45-9C18-8DB54038F495}"/>
              </a:ext>
            </a:extLst>
          </p:cNvPr>
          <p:cNvSpPr txBox="1"/>
          <p:nvPr/>
        </p:nvSpPr>
        <p:spPr>
          <a:xfrm>
            <a:off x="10766323" y="1194619"/>
            <a:ext cx="0" cy="0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>
            <a:no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endParaRPr lang="nl-NL" sz="1600" dirty="0"/>
          </a:p>
        </p:txBody>
      </p:sp>
      <p:sp>
        <p:nvSpPr>
          <p:cNvPr id="3" name="Punthaak 2">
            <a:extLst>
              <a:ext uri="{FF2B5EF4-FFF2-40B4-BE49-F238E27FC236}">
                <a16:creationId xmlns:a16="http://schemas.microsoft.com/office/drawing/2014/main" id="{DA8A12E6-D059-EB44-9087-26BBB60BFF6F}"/>
              </a:ext>
            </a:extLst>
          </p:cNvPr>
          <p:cNvSpPr/>
          <p:nvPr/>
        </p:nvSpPr>
        <p:spPr>
          <a:xfrm>
            <a:off x="554736" y="1643270"/>
            <a:ext cx="304800" cy="212034"/>
          </a:xfrm>
          <a:prstGeom prst="chevron">
            <a:avLst/>
          </a:prstGeom>
          <a:solidFill>
            <a:schemeClr val="accent5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nl-NL" sz="1600" dirty="0" err="1">
              <a:solidFill>
                <a:schemeClr val="bg1"/>
              </a:solidFill>
            </a:endParaRPr>
          </a:p>
        </p:txBody>
      </p:sp>
      <p:sp>
        <p:nvSpPr>
          <p:cNvPr id="4" name="Tekstvak 3">
            <a:extLst>
              <a:ext uri="{FF2B5EF4-FFF2-40B4-BE49-F238E27FC236}">
                <a16:creationId xmlns:a16="http://schemas.microsoft.com/office/drawing/2014/main" id="{D176521B-E67B-8B48-A3F9-E2B5AAEF7365}"/>
              </a:ext>
            </a:extLst>
          </p:cNvPr>
          <p:cNvSpPr txBox="1"/>
          <p:nvPr/>
        </p:nvSpPr>
        <p:spPr>
          <a:xfrm>
            <a:off x="1099929" y="1616766"/>
            <a:ext cx="8521149" cy="35780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>
            <a:no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nl-NL" sz="1600" dirty="0"/>
              <a:t>Visual </a:t>
            </a:r>
            <a:r>
              <a:rPr lang="nl-NL" sz="1600" dirty="0" err="1"/>
              <a:t>overview</a:t>
            </a:r>
            <a:r>
              <a:rPr lang="nl-NL" sz="1600" dirty="0"/>
              <a:t>	</a:t>
            </a:r>
          </a:p>
          <a:p>
            <a:pPr marL="742950" lvl="1" indent="-28575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nl-NL" sz="1600" dirty="0"/>
              <a:t>Tree </a:t>
            </a:r>
            <a:r>
              <a:rPr lang="nl-NL" sz="1600" dirty="0" err="1"/>
              <a:t>graph</a:t>
            </a:r>
            <a:r>
              <a:rPr lang="nl-NL" sz="1600" dirty="0"/>
              <a:t> of state </a:t>
            </a:r>
            <a:r>
              <a:rPr lang="nl-NL" sz="1600" dirty="0" err="1"/>
              <a:t>space</a:t>
            </a:r>
            <a:r>
              <a:rPr lang="nl-NL" sz="1600" dirty="0"/>
              <a:t> per game</a:t>
            </a:r>
          </a:p>
        </p:txBody>
      </p:sp>
      <p:sp>
        <p:nvSpPr>
          <p:cNvPr id="15" name="Punthaak 14">
            <a:extLst>
              <a:ext uri="{FF2B5EF4-FFF2-40B4-BE49-F238E27FC236}">
                <a16:creationId xmlns:a16="http://schemas.microsoft.com/office/drawing/2014/main" id="{FEE937D8-E480-6547-8086-868A2AC45423}"/>
              </a:ext>
            </a:extLst>
          </p:cNvPr>
          <p:cNvSpPr/>
          <p:nvPr/>
        </p:nvSpPr>
        <p:spPr>
          <a:xfrm>
            <a:off x="554736" y="2266122"/>
            <a:ext cx="304800" cy="212034"/>
          </a:xfrm>
          <a:prstGeom prst="chevron">
            <a:avLst/>
          </a:prstGeom>
          <a:solidFill>
            <a:schemeClr val="accent5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nl-NL" sz="1600" dirty="0" err="1">
              <a:solidFill>
                <a:schemeClr val="bg1"/>
              </a:solidFill>
            </a:endParaRPr>
          </a:p>
        </p:txBody>
      </p:sp>
      <p:sp>
        <p:nvSpPr>
          <p:cNvPr id="16" name="Tekstvak 15">
            <a:extLst>
              <a:ext uri="{FF2B5EF4-FFF2-40B4-BE49-F238E27FC236}">
                <a16:creationId xmlns:a16="http://schemas.microsoft.com/office/drawing/2014/main" id="{689A6F80-5B7F-5545-8A49-CBBDD890DE33}"/>
              </a:ext>
            </a:extLst>
          </p:cNvPr>
          <p:cNvSpPr txBox="1"/>
          <p:nvPr/>
        </p:nvSpPr>
        <p:spPr>
          <a:xfrm>
            <a:off x="1099929" y="2239618"/>
            <a:ext cx="4002157" cy="35780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>
            <a:no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nl-NL" sz="1600" dirty="0"/>
              <a:t>Geheugengebruik als vergelijkend gegeven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98785124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2" hidden="1">
            <a:extLst>
              <a:ext uri="{FF2B5EF4-FFF2-40B4-BE49-F238E27FC236}">
                <a16:creationId xmlns:a16="http://schemas.microsoft.com/office/drawing/2014/main" id="{76F54E3D-C394-43F5-94DF-57C91DCE5943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6424815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7897"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6" name="Object 2" hidden="1">
                        <a:extLst>
                          <a:ext uri="{FF2B5EF4-FFF2-40B4-BE49-F238E27FC236}">
                            <a16:creationId xmlns:a16="http://schemas.microsoft.com/office/drawing/2014/main" id="{76F54E3D-C394-43F5-94DF-57C91DCE594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" hidden="1">
            <a:extLst>
              <a:ext uri="{FF2B5EF4-FFF2-40B4-BE49-F238E27FC236}">
                <a16:creationId xmlns:a16="http://schemas.microsoft.com/office/drawing/2014/main" id="{E69DD848-BA36-4944-890D-C8A414B13F9C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2500" b="1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72049" name="2. Slide Title"/>
          <p:cNvSpPr>
            <a:spLocks noGrp="1" noChangeArrowheads="1"/>
          </p:cNvSpPr>
          <p:nvPr>
            <p:ph type="title"/>
            <p:custDataLst>
              <p:tags r:id="rId5"/>
            </p:custDataLst>
          </p:nvPr>
        </p:nvSpPr>
        <p:spPr/>
        <p:txBody>
          <a:bodyPr/>
          <a:lstStyle/>
          <a:p>
            <a:r>
              <a:rPr lang="en-US" dirty="0"/>
              <a:t>Project planning</a:t>
            </a:r>
          </a:p>
        </p:txBody>
      </p:sp>
      <p:sp>
        <p:nvSpPr>
          <p:cNvPr id="35" name="Freeform: Shape 34">
            <a:extLst>
              <a:ext uri="{FF2B5EF4-FFF2-40B4-BE49-F238E27FC236}">
                <a16:creationId xmlns:a16="http://schemas.microsoft.com/office/drawing/2014/main" id="{8BC1879D-724A-4234-ACE3-BCCF5C27BE47}"/>
              </a:ext>
            </a:extLst>
          </p:cNvPr>
          <p:cNvSpPr/>
          <p:nvPr/>
        </p:nvSpPr>
        <p:spPr>
          <a:xfrm>
            <a:off x="5117328" y="4701804"/>
            <a:ext cx="1627218" cy="524393"/>
          </a:xfrm>
          <a:custGeom>
            <a:avLst/>
            <a:gdLst>
              <a:gd name="connsiteX0" fmla="*/ 0 w 2157038"/>
              <a:gd name="connsiteY0" fmla="*/ 528069 h 524392"/>
              <a:gd name="connsiteX1" fmla="*/ 0 w 2157038"/>
              <a:gd name="connsiteY1" fmla="*/ 0 h 524392"/>
              <a:gd name="connsiteX2" fmla="*/ 2161471 w 2157038"/>
              <a:gd name="connsiteY2" fmla="*/ 0 h 5243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157038" h="524392">
                <a:moveTo>
                  <a:pt x="0" y="528069"/>
                </a:moveTo>
                <a:lnTo>
                  <a:pt x="0" y="0"/>
                </a:lnTo>
                <a:lnTo>
                  <a:pt x="2161471" y="0"/>
                </a:lnTo>
              </a:path>
            </a:pathLst>
          </a:custGeom>
          <a:noFill/>
          <a:ln w="12700" cap="sq">
            <a:solidFill>
              <a:schemeClr val="tx1"/>
            </a:solidFill>
            <a:prstDash val="solid"/>
            <a:miter/>
          </a:ln>
        </p:spPr>
        <p:txBody>
          <a:bodyPr rtlCol="0" anchor="ctr"/>
          <a:lstStyle/>
          <a:p>
            <a:endParaRPr lang="en-US" dirty="0"/>
          </a:p>
        </p:txBody>
      </p:sp>
      <p:sp>
        <p:nvSpPr>
          <p:cNvPr id="51" name="Freeform: Shape 50">
            <a:extLst>
              <a:ext uri="{FF2B5EF4-FFF2-40B4-BE49-F238E27FC236}">
                <a16:creationId xmlns:a16="http://schemas.microsoft.com/office/drawing/2014/main" id="{0A905115-AB81-4330-B94F-B3C1DC416EAC}"/>
              </a:ext>
            </a:extLst>
          </p:cNvPr>
          <p:cNvSpPr/>
          <p:nvPr/>
        </p:nvSpPr>
        <p:spPr>
          <a:xfrm>
            <a:off x="6749943" y="4172373"/>
            <a:ext cx="1634437" cy="524393"/>
          </a:xfrm>
          <a:custGeom>
            <a:avLst/>
            <a:gdLst>
              <a:gd name="connsiteX0" fmla="*/ 0 w 2157038"/>
              <a:gd name="connsiteY0" fmla="*/ 528069 h 524392"/>
              <a:gd name="connsiteX1" fmla="*/ 0 w 2157038"/>
              <a:gd name="connsiteY1" fmla="*/ 0 h 524392"/>
              <a:gd name="connsiteX2" fmla="*/ 2161472 w 2157038"/>
              <a:gd name="connsiteY2" fmla="*/ 0 h 5243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157038" h="524392">
                <a:moveTo>
                  <a:pt x="0" y="528069"/>
                </a:moveTo>
                <a:lnTo>
                  <a:pt x="0" y="0"/>
                </a:lnTo>
                <a:lnTo>
                  <a:pt x="2161472" y="0"/>
                </a:lnTo>
              </a:path>
            </a:pathLst>
          </a:custGeom>
          <a:noFill/>
          <a:ln w="12700" cap="sq">
            <a:solidFill>
              <a:schemeClr val="tx1"/>
            </a:solidFill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52" name="Freeform: Shape 51">
            <a:extLst>
              <a:ext uri="{FF2B5EF4-FFF2-40B4-BE49-F238E27FC236}">
                <a16:creationId xmlns:a16="http://schemas.microsoft.com/office/drawing/2014/main" id="{34A6F413-45A0-42F6-8658-C57FBDEC465F}"/>
              </a:ext>
            </a:extLst>
          </p:cNvPr>
          <p:cNvSpPr/>
          <p:nvPr/>
        </p:nvSpPr>
        <p:spPr>
          <a:xfrm>
            <a:off x="8386764" y="3636458"/>
            <a:ext cx="1619250" cy="530730"/>
          </a:xfrm>
          <a:custGeom>
            <a:avLst/>
            <a:gdLst>
              <a:gd name="connsiteX0" fmla="*/ 0 w 2157038"/>
              <a:gd name="connsiteY0" fmla="*/ 528069 h 524392"/>
              <a:gd name="connsiteX1" fmla="*/ 0 w 2157038"/>
              <a:gd name="connsiteY1" fmla="*/ 0 h 524392"/>
              <a:gd name="connsiteX2" fmla="*/ 2161471 w 2157038"/>
              <a:gd name="connsiteY2" fmla="*/ 0 h 5243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157038" h="524392">
                <a:moveTo>
                  <a:pt x="0" y="528069"/>
                </a:moveTo>
                <a:lnTo>
                  <a:pt x="0" y="0"/>
                </a:lnTo>
                <a:lnTo>
                  <a:pt x="2161471" y="0"/>
                </a:lnTo>
              </a:path>
            </a:pathLst>
          </a:custGeom>
          <a:noFill/>
          <a:ln w="12700" cap="sq">
            <a:solidFill>
              <a:schemeClr val="tx1"/>
            </a:solidFill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54" name="Freeform: Shape 53">
            <a:extLst>
              <a:ext uri="{FF2B5EF4-FFF2-40B4-BE49-F238E27FC236}">
                <a16:creationId xmlns:a16="http://schemas.microsoft.com/office/drawing/2014/main" id="{5D9CB54C-6A46-4F0B-92B1-F6060C72E410}"/>
              </a:ext>
            </a:extLst>
          </p:cNvPr>
          <p:cNvSpPr/>
          <p:nvPr/>
        </p:nvSpPr>
        <p:spPr>
          <a:xfrm>
            <a:off x="10016528" y="3106152"/>
            <a:ext cx="1627218" cy="524393"/>
          </a:xfrm>
          <a:custGeom>
            <a:avLst/>
            <a:gdLst>
              <a:gd name="connsiteX0" fmla="*/ 0 w 2157038"/>
              <a:gd name="connsiteY0" fmla="*/ 528069 h 524392"/>
              <a:gd name="connsiteX1" fmla="*/ 0 w 2157038"/>
              <a:gd name="connsiteY1" fmla="*/ 0 h 524392"/>
              <a:gd name="connsiteX2" fmla="*/ 2161471 w 2157038"/>
              <a:gd name="connsiteY2" fmla="*/ 0 h 5243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157038" h="524392">
                <a:moveTo>
                  <a:pt x="0" y="528069"/>
                </a:moveTo>
                <a:lnTo>
                  <a:pt x="0" y="0"/>
                </a:lnTo>
                <a:lnTo>
                  <a:pt x="2161471" y="0"/>
                </a:lnTo>
              </a:path>
            </a:pathLst>
          </a:custGeom>
          <a:noFill/>
          <a:ln w="12700" cap="sq">
            <a:solidFill>
              <a:schemeClr val="tx1"/>
            </a:solidFill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43" name="Oval 42">
            <a:extLst>
              <a:ext uri="{FF2B5EF4-FFF2-40B4-BE49-F238E27FC236}">
                <a16:creationId xmlns:a16="http://schemas.microsoft.com/office/drawing/2014/main" id="{15EB0077-A04A-4361-AE13-C6B0944390AB}"/>
              </a:ext>
            </a:extLst>
          </p:cNvPr>
          <p:cNvSpPr>
            <a:spLocks noChangeAspect="1"/>
          </p:cNvSpPr>
          <p:nvPr/>
        </p:nvSpPr>
        <p:spPr>
          <a:xfrm>
            <a:off x="5727203" y="4025236"/>
            <a:ext cx="407468" cy="407468"/>
          </a:xfrm>
          <a:prstGeom prst="ellipse">
            <a:avLst/>
          </a:prstGeom>
          <a:solidFill>
            <a:schemeClr val="accent1"/>
          </a:solidFill>
          <a:ln w="6350" cap="rnd">
            <a:noFill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ctr" defTabSz="914354">
              <a:defRPr/>
            </a:pPr>
            <a:r>
              <a:rPr lang="en-US" sz="2000" dirty="0">
                <a:solidFill>
                  <a:srgbClr val="FFFFFF"/>
                </a:solidFill>
                <a:latin typeface="Arial"/>
              </a:rPr>
              <a:t>1</a:t>
            </a:r>
          </a:p>
        </p:txBody>
      </p:sp>
      <p:sp>
        <p:nvSpPr>
          <p:cNvPr id="44" name="Oval 43">
            <a:extLst>
              <a:ext uri="{FF2B5EF4-FFF2-40B4-BE49-F238E27FC236}">
                <a16:creationId xmlns:a16="http://schemas.microsoft.com/office/drawing/2014/main" id="{88749FE8-0DBF-4E94-8EA2-F6D1399137A9}"/>
              </a:ext>
            </a:extLst>
          </p:cNvPr>
          <p:cNvSpPr>
            <a:spLocks noChangeAspect="1"/>
          </p:cNvSpPr>
          <p:nvPr/>
        </p:nvSpPr>
        <p:spPr>
          <a:xfrm>
            <a:off x="8992655" y="3029636"/>
            <a:ext cx="407468" cy="407468"/>
          </a:xfrm>
          <a:prstGeom prst="ellipse">
            <a:avLst/>
          </a:prstGeom>
          <a:solidFill>
            <a:schemeClr val="accent2"/>
          </a:solidFill>
          <a:ln w="6350" cap="rnd">
            <a:noFill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ctr" defTabSz="914354">
              <a:defRPr/>
            </a:pPr>
            <a:r>
              <a:rPr lang="en-US" sz="2000" dirty="0">
                <a:solidFill>
                  <a:schemeClr val="tx1"/>
                </a:solidFill>
                <a:latin typeface="Arial"/>
              </a:rPr>
              <a:t>3</a:t>
            </a:r>
          </a:p>
        </p:txBody>
      </p:sp>
      <p:sp>
        <p:nvSpPr>
          <p:cNvPr id="45" name="Oval 44">
            <a:extLst>
              <a:ext uri="{FF2B5EF4-FFF2-40B4-BE49-F238E27FC236}">
                <a16:creationId xmlns:a16="http://schemas.microsoft.com/office/drawing/2014/main" id="{AD58BE76-B33A-4F03-B69B-D0A6E96DD224}"/>
              </a:ext>
            </a:extLst>
          </p:cNvPr>
          <p:cNvSpPr>
            <a:spLocks noChangeAspect="1"/>
          </p:cNvSpPr>
          <p:nvPr/>
        </p:nvSpPr>
        <p:spPr>
          <a:xfrm>
            <a:off x="7363427" y="3475627"/>
            <a:ext cx="407468" cy="407468"/>
          </a:xfrm>
          <a:prstGeom prst="ellipse">
            <a:avLst/>
          </a:prstGeom>
          <a:solidFill>
            <a:schemeClr val="accent1"/>
          </a:solidFill>
          <a:ln w="6350" cap="rnd">
            <a:noFill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ctr" defTabSz="914354">
              <a:defRPr/>
            </a:pPr>
            <a:r>
              <a:rPr lang="en-US" sz="2000" dirty="0">
                <a:solidFill>
                  <a:srgbClr val="FFFFFF"/>
                </a:solidFill>
                <a:latin typeface="Arial"/>
              </a:rPr>
              <a:t>2</a:t>
            </a:r>
          </a:p>
        </p:txBody>
      </p:sp>
      <p:sp>
        <p:nvSpPr>
          <p:cNvPr id="79" name="Oval 78">
            <a:extLst>
              <a:ext uri="{FF2B5EF4-FFF2-40B4-BE49-F238E27FC236}">
                <a16:creationId xmlns:a16="http://schemas.microsoft.com/office/drawing/2014/main" id="{201525DE-64A1-4AC5-82E3-5431EA9226C1}"/>
              </a:ext>
            </a:extLst>
          </p:cNvPr>
          <p:cNvSpPr>
            <a:spLocks noChangeAspect="1"/>
          </p:cNvSpPr>
          <p:nvPr/>
        </p:nvSpPr>
        <p:spPr>
          <a:xfrm>
            <a:off x="10626404" y="2409266"/>
            <a:ext cx="407468" cy="407468"/>
          </a:xfrm>
          <a:prstGeom prst="ellipse">
            <a:avLst/>
          </a:prstGeom>
          <a:solidFill>
            <a:schemeClr val="accent1"/>
          </a:solidFill>
          <a:ln w="6350" cap="rnd">
            <a:noFill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ctr" defTabSz="914354">
              <a:defRPr/>
            </a:pPr>
            <a:r>
              <a:rPr lang="en-US" sz="2000" dirty="0">
                <a:solidFill>
                  <a:srgbClr val="FFFFFF"/>
                </a:solidFill>
                <a:latin typeface="Arial"/>
              </a:rPr>
              <a:t>4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907A4489-02CC-4760-BC7B-DA62AE90DA97}"/>
              </a:ext>
            </a:extLst>
          </p:cNvPr>
          <p:cNvSpPr txBox="1"/>
          <p:nvPr/>
        </p:nvSpPr>
        <p:spPr>
          <a:xfrm>
            <a:off x="5226583" y="4800544"/>
            <a:ext cx="1414105" cy="1154162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400" b="1" dirty="0"/>
              <a:t>Simple gameplay possible</a:t>
            </a:r>
          </a:p>
          <a:p>
            <a:r>
              <a:rPr lang="en-US" sz="1400" dirty="0"/>
              <a:t>Game playable by hand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81DF64EC-B8BD-48CC-968F-917DBDC289A8}"/>
              </a:ext>
            </a:extLst>
          </p:cNvPr>
          <p:cNvSpPr txBox="1"/>
          <p:nvPr/>
        </p:nvSpPr>
        <p:spPr>
          <a:xfrm>
            <a:off x="6864657" y="4276151"/>
            <a:ext cx="1414105" cy="1154162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400" b="1" dirty="0"/>
              <a:t>Random algorithm</a:t>
            </a:r>
          </a:p>
          <a:p>
            <a:r>
              <a:rPr lang="en-US" sz="1400" dirty="0"/>
              <a:t>Simple algorithm able to solve the simple boards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2824894E-0821-4B69-A5C0-294CE025C6E6}"/>
              </a:ext>
            </a:extLst>
          </p:cNvPr>
          <p:cNvSpPr txBox="1"/>
          <p:nvPr/>
        </p:nvSpPr>
        <p:spPr>
          <a:xfrm>
            <a:off x="8494575" y="3740236"/>
            <a:ext cx="1414105" cy="1585049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400" b="1" dirty="0"/>
              <a:t>Advanced algorithms</a:t>
            </a:r>
          </a:p>
          <a:p>
            <a:r>
              <a:rPr lang="en-US" sz="1400" dirty="0"/>
              <a:t>Algorithms with higher performance able to solve all boards 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38713EEA-F2F1-41DF-B2AF-38D47208624B}"/>
              </a:ext>
            </a:extLst>
          </p:cNvPr>
          <p:cNvSpPr txBox="1"/>
          <p:nvPr/>
        </p:nvSpPr>
        <p:spPr>
          <a:xfrm>
            <a:off x="10123085" y="3209930"/>
            <a:ext cx="1414105" cy="1800493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400" b="1" dirty="0"/>
              <a:t>Create random boards</a:t>
            </a:r>
          </a:p>
          <a:p>
            <a:r>
              <a:rPr lang="en-US" sz="1400" dirty="0"/>
              <a:t>Solve the random created boards and determine what is the difficulty in solving them </a:t>
            </a:r>
          </a:p>
        </p:txBody>
      </p: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7DDB662F-ED77-4A6C-896C-9E2D175E5192}"/>
              </a:ext>
            </a:extLst>
          </p:cNvPr>
          <p:cNvCxnSpPr>
            <a:cxnSpLocks/>
          </p:cNvCxnSpPr>
          <p:nvPr/>
        </p:nvCxnSpPr>
        <p:spPr>
          <a:xfrm flipH="1">
            <a:off x="554737" y="5231234"/>
            <a:ext cx="4559869" cy="0"/>
          </a:xfrm>
          <a:prstGeom prst="line">
            <a:avLst/>
          </a:prstGeom>
          <a:ln w="12700" cap="sq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RectangleLegend2">
            <a:extLst>
              <a:ext uri="{FF2B5EF4-FFF2-40B4-BE49-F238E27FC236}">
                <a16:creationId xmlns:a16="http://schemas.microsoft.com/office/drawing/2014/main" id="{2A59F6E2-40C9-4D26-97C9-CE287D16F708}"/>
              </a:ext>
            </a:extLst>
          </p:cNvPr>
          <p:cNvSpPr/>
          <p:nvPr/>
        </p:nvSpPr>
        <p:spPr>
          <a:xfrm>
            <a:off x="9871173" y="870636"/>
            <a:ext cx="172729" cy="172729"/>
          </a:xfrm>
          <a:prstGeom prst="rect">
            <a:avLst/>
          </a:prstGeom>
          <a:noFill/>
          <a:ln w="19050" cap="sq">
            <a:solidFill>
              <a:schemeClr val="tx1"/>
            </a:solidFill>
            <a:prstDash val="dash"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400" err="1">
              <a:solidFill>
                <a:schemeClr val="tx1"/>
              </a:solidFill>
            </a:endParaRPr>
          </a:p>
        </p:txBody>
      </p:sp>
      <p:sp>
        <p:nvSpPr>
          <p:cNvPr id="31" name="Legend2">
            <a:extLst>
              <a:ext uri="{FF2B5EF4-FFF2-40B4-BE49-F238E27FC236}">
                <a16:creationId xmlns:a16="http://schemas.microsoft.com/office/drawing/2014/main" id="{93DEB18E-CA4C-49EC-AF1B-68C13C479CFD}"/>
              </a:ext>
            </a:extLst>
          </p:cNvPr>
          <p:cNvSpPr txBox="1"/>
          <p:nvPr/>
        </p:nvSpPr>
        <p:spPr>
          <a:xfrm>
            <a:off x="10224499" y="849278"/>
            <a:ext cx="1591782" cy="215444"/>
          </a:xfrm>
          <a:prstGeom prst="rect">
            <a:avLst/>
          </a:prstGeom>
          <a:noFill/>
          <a:ln>
            <a:noFill/>
            <a:miter lim="800000"/>
          </a:ln>
        </p:spPr>
        <p:txBody>
          <a:bodyPr wrap="none" lIns="0" tIns="0" rIns="0" bIns="0" rtlCol="0" anchor="ctr" anchorCtr="0">
            <a:spAutoFit/>
          </a:bodyPr>
          <a:lstStyle/>
          <a:p>
            <a:pPr>
              <a:spcAft>
                <a:spcPts val="600"/>
              </a:spcAft>
            </a:pPr>
            <a:r>
              <a:rPr lang="en-US" sz="1400" dirty="0"/>
              <a:t>Advanced (optional)</a:t>
            </a:r>
          </a:p>
        </p:txBody>
      </p:sp>
      <p:sp>
        <p:nvSpPr>
          <p:cNvPr id="36" name="RectangleLegend2">
            <a:extLst>
              <a:ext uri="{FF2B5EF4-FFF2-40B4-BE49-F238E27FC236}">
                <a16:creationId xmlns:a16="http://schemas.microsoft.com/office/drawing/2014/main" id="{ED61EEAB-1B21-4775-8452-E4C7861AD426}"/>
              </a:ext>
            </a:extLst>
          </p:cNvPr>
          <p:cNvSpPr/>
          <p:nvPr/>
        </p:nvSpPr>
        <p:spPr>
          <a:xfrm>
            <a:off x="9915241" y="2205390"/>
            <a:ext cx="1917928" cy="3955380"/>
          </a:xfrm>
          <a:prstGeom prst="rect">
            <a:avLst/>
          </a:prstGeom>
          <a:noFill/>
          <a:ln w="19050" cap="sq">
            <a:solidFill>
              <a:schemeClr val="tx1"/>
            </a:solidFill>
            <a:prstDash val="dash"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400" err="1">
              <a:solidFill>
                <a:schemeClr val="tx1"/>
              </a:solidFill>
            </a:endParaRPr>
          </a:p>
        </p:txBody>
      </p:sp>
      <p:sp>
        <p:nvSpPr>
          <p:cNvPr id="46" name="Legend1">
            <a:extLst>
              <a:ext uri="{FF2B5EF4-FFF2-40B4-BE49-F238E27FC236}">
                <a16:creationId xmlns:a16="http://schemas.microsoft.com/office/drawing/2014/main" id="{7A4A4D9B-7B22-41AB-84A4-CA6151C92E5E}"/>
              </a:ext>
            </a:extLst>
          </p:cNvPr>
          <p:cNvSpPr txBox="1"/>
          <p:nvPr/>
        </p:nvSpPr>
        <p:spPr>
          <a:xfrm>
            <a:off x="10224499" y="402761"/>
            <a:ext cx="1033937" cy="215444"/>
          </a:xfrm>
          <a:prstGeom prst="rect">
            <a:avLst/>
          </a:prstGeom>
          <a:noFill/>
          <a:ln>
            <a:noFill/>
            <a:miter lim="800000"/>
          </a:ln>
        </p:spPr>
        <p:txBody>
          <a:bodyPr wrap="none" lIns="0" tIns="0" rIns="0" bIns="0" rtlCol="0" anchor="ctr" anchorCtr="0">
            <a:spAutoFit/>
          </a:bodyPr>
          <a:lstStyle/>
          <a:p>
            <a:pPr>
              <a:spcAft>
                <a:spcPts val="600"/>
              </a:spcAft>
            </a:pPr>
            <a:r>
              <a:rPr lang="en-US" sz="1400" dirty="0"/>
              <a:t>Current state</a:t>
            </a:r>
          </a:p>
        </p:txBody>
      </p:sp>
      <p:sp>
        <p:nvSpPr>
          <p:cNvPr id="53" name="Oval 52">
            <a:extLst>
              <a:ext uri="{FF2B5EF4-FFF2-40B4-BE49-F238E27FC236}">
                <a16:creationId xmlns:a16="http://schemas.microsoft.com/office/drawing/2014/main" id="{B195A460-5625-411A-9DA9-28F19FD6F5AE}"/>
              </a:ext>
            </a:extLst>
          </p:cNvPr>
          <p:cNvSpPr>
            <a:spLocks noChangeAspect="1"/>
          </p:cNvSpPr>
          <p:nvPr/>
        </p:nvSpPr>
        <p:spPr>
          <a:xfrm>
            <a:off x="9754231" y="266822"/>
            <a:ext cx="407468" cy="407468"/>
          </a:xfrm>
          <a:prstGeom prst="ellipse">
            <a:avLst/>
          </a:prstGeom>
          <a:solidFill>
            <a:schemeClr val="accent2"/>
          </a:solidFill>
          <a:ln w="6350" cap="rnd">
            <a:noFill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ctr" defTabSz="914354">
              <a:defRPr/>
            </a:pPr>
            <a:r>
              <a:rPr lang="en-US" sz="2000" dirty="0">
                <a:solidFill>
                  <a:schemeClr val="tx1"/>
                </a:solidFill>
                <a:latin typeface="Arial"/>
              </a:rPr>
              <a:t>3</a:t>
            </a:r>
          </a:p>
        </p:txBody>
      </p:sp>
      <p:pic>
        <p:nvPicPr>
          <p:cNvPr id="12" name="CustomIcon">
            <a:extLst>
              <a:ext uri="{FF2B5EF4-FFF2-40B4-BE49-F238E27FC236}">
                <a16:creationId xmlns:a16="http://schemas.microsoft.com/office/drawing/2014/main" id="{771461C6-B41F-4E7E-80B1-E729A7B95039}"/>
              </a:ext>
            </a:extLst>
          </p:cNvPr>
          <p:cNvPicPr>
            <a:picLocks noChangeAspect="1"/>
          </p:cNvPicPr>
          <p:nvPr>
            <p:custDataLst>
              <p:tags r:id="rId6"/>
            </p:custDataLst>
          </p:nvPr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1703070" y="3427181"/>
            <a:ext cx="1799016" cy="1799016"/>
          </a:xfrm>
          <a:prstGeom prst="rect">
            <a:avLst/>
          </a:prstGeom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val="352605067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64D0ABBD-6BB4-4657-A5D3-6B70F0C004B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961248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52" name="think-cell Slide" r:id="rId6" imgW="473" imgH="473" progId="TCLayout.ActiveDocument.1">
                  <p:embed/>
                </p:oleObj>
              </mc:Choice>
              <mc:Fallback>
                <p:oleObj name="think-cell Slide" r:id="rId6" imgW="473" imgH="47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5C1FC8AF-AD28-4E0D-AE87-5660FF5479FA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2500" b="1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2" name="2. Slide Title">
            <a:extLst>
              <a:ext uri="{FF2B5EF4-FFF2-40B4-BE49-F238E27FC236}">
                <a16:creationId xmlns:a16="http://schemas.microsoft.com/office/drawing/2014/main" id="{77727AC8-5156-4F82-B63F-AB3CF6ECCB63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/>
        <p:txBody>
          <a:bodyPr/>
          <a:lstStyle/>
          <a:p>
            <a:r>
              <a:rPr lang="en-US" dirty="0"/>
              <a:t>Game setup</a:t>
            </a:r>
          </a:p>
        </p:txBody>
      </p:sp>
      <p:pic>
        <p:nvPicPr>
          <p:cNvPr id="71684" name="Picture 4" descr="https://raw.githubusercontent.com/floorberkhout/commit4life/master/doc/umlrushhour.png?token=ANCMVMQRARG3DUQXUFM4G5K6C3TYA">
            <a:extLst>
              <a:ext uri="{FF2B5EF4-FFF2-40B4-BE49-F238E27FC236}">
                <a16:creationId xmlns:a16="http://schemas.microsoft.com/office/drawing/2014/main" id="{FCD3EE84-7104-4335-9245-EB19B85DCEEE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2493" b="45219"/>
          <a:stretch/>
        </p:blipFill>
        <p:spPr bwMode="auto">
          <a:xfrm>
            <a:off x="554736" y="1951709"/>
            <a:ext cx="4347210" cy="34920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" name="Afbeelding 3" descr="Afbeelding met tekst&#10;&#10;Automatisch gegenereerde beschrijving">
            <a:extLst>
              <a:ext uri="{FF2B5EF4-FFF2-40B4-BE49-F238E27FC236}">
                <a16:creationId xmlns:a16="http://schemas.microsoft.com/office/drawing/2014/main" id="{D95F0E8A-5814-7F4F-88A8-23199F6E12A8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6096000" y="903732"/>
            <a:ext cx="5579622" cy="5588000"/>
          </a:xfrm>
          <a:prstGeom prst="rect">
            <a:avLst/>
          </a:prstGeom>
        </p:spPr>
      </p:pic>
      <p:sp>
        <p:nvSpPr>
          <p:cNvPr id="7" name="Tekstvak 6">
            <a:extLst>
              <a:ext uri="{FF2B5EF4-FFF2-40B4-BE49-F238E27FC236}">
                <a16:creationId xmlns:a16="http://schemas.microsoft.com/office/drawing/2014/main" id="{E13FC233-EFB7-5244-8D03-66AAF71A28A5}"/>
              </a:ext>
            </a:extLst>
          </p:cNvPr>
          <p:cNvSpPr txBox="1"/>
          <p:nvPr/>
        </p:nvSpPr>
        <p:spPr>
          <a:xfrm>
            <a:off x="4152900" y="1168400"/>
            <a:ext cx="0" cy="0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>
            <a:no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endParaRPr lang="nl-NL" sz="1600" dirty="0"/>
          </a:p>
        </p:txBody>
      </p:sp>
    </p:spTree>
    <p:extLst>
      <p:ext uri="{BB962C8B-B14F-4D97-AF65-F5344CB8AC3E}">
        <p14:creationId xmlns:p14="http://schemas.microsoft.com/office/powerpoint/2010/main" val="39174872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8771640F-AF36-44A5-8DC5-609684D0C8D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856423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0727" name="think-cell Slide" r:id="rId6" imgW="473" imgH="473" progId="TCLayout.ActiveDocument.1">
                  <p:embed/>
                </p:oleObj>
              </mc:Choice>
              <mc:Fallback>
                <p:oleObj name="think-cell Slide" r:id="rId6" imgW="473" imgH="47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>
            <a:extLst>
              <a:ext uri="{FF2B5EF4-FFF2-40B4-BE49-F238E27FC236}">
                <a16:creationId xmlns:a16="http://schemas.microsoft.com/office/drawing/2014/main" id="{F5208EBC-979E-4B77-913B-5CBB9EFD3322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/>
        <p:txBody>
          <a:bodyPr/>
          <a:lstStyle/>
          <a:p>
            <a:r>
              <a:rPr lang="en-US" dirty="0"/>
              <a:t>Visualization</a:t>
            </a:r>
          </a:p>
        </p:txBody>
      </p:sp>
      <p:sp>
        <p:nvSpPr>
          <p:cNvPr id="3" name="3. Subtitle">
            <a:extLst>
              <a:ext uri="{FF2B5EF4-FFF2-40B4-BE49-F238E27FC236}">
                <a16:creationId xmlns:a16="http://schemas.microsoft.com/office/drawing/2014/main" id="{DAB3984D-17AA-4F7B-A0F1-D55881B3A1F6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/>
        <p:txBody>
          <a:bodyPr/>
          <a:lstStyle/>
          <a:p>
            <a:r>
              <a:rPr lang="en-US" dirty="0"/>
              <a:t>Simple graphical</a:t>
            </a:r>
          </a:p>
        </p:txBody>
      </p:sp>
      <p:sp>
        <p:nvSpPr>
          <p:cNvPr id="5" name="AutoShape 2" descr="https://github.com/floorberkhout/commit4life/raw/master/doc/umlrushhour.png">
            <a:extLst>
              <a:ext uri="{FF2B5EF4-FFF2-40B4-BE49-F238E27FC236}">
                <a16:creationId xmlns:a16="http://schemas.microsoft.com/office/drawing/2014/main" id="{F8F5E586-5EF2-4E47-87CA-9C12588A5841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5943600" y="3276600"/>
            <a:ext cx="2811780" cy="28117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9D87ACFB-3356-41B5-A9DA-498DDEE610A0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2949892" y="1576027"/>
            <a:ext cx="5805488" cy="42195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121966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2" hidden="1">
            <a:extLst>
              <a:ext uri="{FF2B5EF4-FFF2-40B4-BE49-F238E27FC236}">
                <a16:creationId xmlns:a16="http://schemas.microsoft.com/office/drawing/2014/main" id="{75B3ACA5-822D-4DD8-AD27-A01FCB89231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858749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5859" name="think-cell Slide" r:id="rId12" imgW="592" imgH="591" progId="TCLayout.ActiveDocument.1">
                  <p:embed/>
                </p:oleObj>
              </mc:Choice>
              <mc:Fallback>
                <p:oleObj name="think-cell Slide" r:id="rId12" imgW="592" imgH="591" progId="TCLayout.ActiveDocument.1">
                  <p:embed/>
                  <p:pic>
                    <p:nvPicPr>
                      <p:cNvPr id="7" name="Object 2" hidden="1">
                        <a:extLst>
                          <a:ext uri="{FF2B5EF4-FFF2-40B4-BE49-F238E27FC236}">
                            <a16:creationId xmlns:a16="http://schemas.microsoft.com/office/drawing/2014/main" id="{75B3ACA5-822D-4DD8-AD27-A01FCB89231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" hidden="1">
            <a:extLst>
              <a:ext uri="{FF2B5EF4-FFF2-40B4-BE49-F238E27FC236}">
                <a16:creationId xmlns:a16="http://schemas.microsoft.com/office/drawing/2014/main" id="{B38CA918-E19D-4D77-A525-FB7769A349E5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2500" b="1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6" name="2. Slide Title">
            <a:extLst>
              <a:ext uri="{FF2B5EF4-FFF2-40B4-BE49-F238E27FC236}">
                <a16:creationId xmlns:a16="http://schemas.microsoft.com/office/drawing/2014/main" id="{015E69FB-49E9-4802-8601-954D7DA0143E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/>
        <p:txBody>
          <a:bodyPr/>
          <a:lstStyle/>
          <a:p>
            <a:r>
              <a:rPr lang="en-US" dirty="0"/>
              <a:t>Random algorithm is able to give a valid solution for first 6 games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4C5B12E0-FA5E-4CD7-B72F-2A27D420855C}"/>
              </a:ext>
            </a:extLst>
          </p:cNvPr>
          <p:cNvSpPr txBox="1"/>
          <p:nvPr/>
        </p:nvSpPr>
        <p:spPr>
          <a:xfrm>
            <a:off x="8877300" y="1874236"/>
            <a:ext cx="2102894" cy="4206523"/>
          </a:xfrm>
          <a:prstGeom prst="rect">
            <a:avLst/>
          </a:prstGeom>
        </p:spPr>
        <p:txBody>
          <a:bodyPr vert="horz" wrap="square" lIns="274320" tIns="0" rIns="0" bIns="0" rtlCol="0" anchor="t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1">
              <a:spcAft>
                <a:spcPts val="600"/>
              </a:spcAft>
            </a:pPr>
            <a:r>
              <a:rPr lang="en-US" sz="1400" dirty="0"/>
              <a:t>First </a:t>
            </a:r>
            <a:r>
              <a:rPr lang="en-US" sz="1400" b="1" dirty="0"/>
              <a:t>6 boards solved</a:t>
            </a:r>
            <a:r>
              <a:rPr lang="en-US" sz="1400" dirty="0"/>
              <a:t> with a max of 9x9</a:t>
            </a:r>
            <a:endParaRPr lang="en-US" sz="1400" b="1" dirty="0"/>
          </a:p>
          <a:p>
            <a:pPr lvl="1">
              <a:spcAft>
                <a:spcPts val="600"/>
              </a:spcAft>
            </a:pPr>
            <a:r>
              <a:rPr lang="en-US" sz="1400" b="1" dirty="0"/>
              <a:t>Efficiency very low </a:t>
            </a:r>
            <a:r>
              <a:rPr lang="en-US" sz="1400" dirty="0"/>
              <a:t> algorithm does a lot of similar steps</a:t>
            </a:r>
            <a:endParaRPr lang="en-US" sz="1400" b="1" dirty="0"/>
          </a:p>
          <a:p>
            <a:pPr lvl="1">
              <a:spcAft>
                <a:spcPts val="600"/>
              </a:spcAft>
            </a:pPr>
            <a:r>
              <a:rPr lang="en-US" sz="1400" b="1" dirty="0"/>
              <a:t>Room for improvement</a:t>
            </a:r>
          </a:p>
          <a:p>
            <a:pPr lvl="2">
              <a:spcAft>
                <a:spcPts val="600"/>
              </a:spcAft>
            </a:pPr>
            <a:r>
              <a:rPr lang="en-US" sz="1400" dirty="0"/>
              <a:t>Check for win is not efficient</a:t>
            </a:r>
          </a:p>
        </p:txBody>
      </p:sp>
      <p:cxnSp>
        <p:nvCxnSpPr>
          <p:cNvPr id="9" name="Straight Arrow Connector 8">
            <a:extLst>
              <a:ext uri="{FF2B5EF4-FFF2-40B4-BE49-F238E27FC236}">
                <a16:creationId xmlns:a16="http://schemas.microsoft.com/office/drawing/2014/main" id="{B30B89E3-22B5-43D6-A017-09A9645E64E8}"/>
              </a:ext>
            </a:extLst>
          </p:cNvPr>
          <p:cNvCxnSpPr/>
          <p:nvPr/>
        </p:nvCxnSpPr>
        <p:spPr>
          <a:xfrm>
            <a:off x="8877300" y="1874236"/>
            <a:ext cx="0" cy="4206523"/>
          </a:xfrm>
          <a:prstGeom prst="straightConnector1">
            <a:avLst/>
          </a:prstGeom>
          <a:ln w="19050" cap="sq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LineBasicDefault 16">
            <a:extLst>
              <a:ext uri="{FF2B5EF4-FFF2-40B4-BE49-F238E27FC236}">
                <a16:creationId xmlns:a16="http://schemas.microsoft.com/office/drawing/2014/main" id="{F4925639-E01F-42AD-B670-FDCEA9494274}"/>
              </a:ext>
            </a:extLst>
          </p:cNvPr>
          <p:cNvCxnSpPr>
            <a:cxnSpLocks/>
          </p:cNvCxnSpPr>
          <p:nvPr>
            <p:custDataLst>
              <p:tags r:id="rId5"/>
            </p:custDataLst>
          </p:nvPr>
        </p:nvCxnSpPr>
        <p:spPr>
          <a:xfrm>
            <a:off x="565988" y="1737360"/>
            <a:ext cx="8091355" cy="0"/>
          </a:xfrm>
          <a:prstGeom prst="straightConnector1">
            <a:avLst/>
          </a:prstGeom>
          <a:ln w="6350" cap="sq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LineBasicDefault 16">
            <a:extLst>
              <a:ext uri="{FF2B5EF4-FFF2-40B4-BE49-F238E27FC236}">
                <a16:creationId xmlns:a16="http://schemas.microsoft.com/office/drawing/2014/main" id="{AB9CC399-DFF5-489B-AAB0-4071CA65DC0E}"/>
              </a:ext>
            </a:extLst>
          </p:cNvPr>
          <p:cNvCxnSpPr>
            <a:cxnSpLocks/>
          </p:cNvCxnSpPr>
          <p:nvPr>
            <p:custDataLst>
              <p:tags r:id="rId6"/>
            </p:custDataLst>
          </p:nvPr>
        </p:nvCxnSpPr>
        <p:spPr>
          <a:xfrm>
            <a:off x="9121140" y="1737360"/>
            <a:ext cx="2926877" cy="0"/>
          </a:xfrm>
          <a:prstGeom prst="straightConnector1">
            <a:avLst/>
          </a:prstGeom>
          <a:ln w="6350" cap="sq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7" name="CustomIcon">
            <a:extLst>
              <a:ext uri="{FF2B5EF4-FFF2-40B4-BE49-F238E27FC236}">
                <a16:creationId xmlns:a16="http://schemas.microsoft.com/office/drawing/2014/main" id="{F6F531E7-40C5-4AAC-A974-4BF691696D1D}"/>
              </a:ext>
            </a:extLst>
          </p:cNvPr>
          <p:cNvPicPr>
            <a:picLocks noChangeAspect="1"/>
          </p:cNvPicPr>
          <p:nvPr>
            <p:custDataLst>
              <p:tags r:id="rId7"/>
            </p:custDataLst>
          </p:nvPr>
        </p:nvPicPr>
        <p:blipFill>
          <a:blip r:embed="rId14">
            <a:extLs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8041065" y="5102149"/>
            <a:ext cx="609600" cy="609600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8D309EDE-AEC1-4122-A2E6-3715A7DF5F5C}"/>
              </a:ext>
            </a:extLst>
          </p:cNvPr>
          <p:cNvSpPr txBox="1"/>
          <p:nvPr/>
        </p:nvSpPr>
        <p:spPr>
          <a:xfrm>
            <a:off x="5713298" y="4904284"/>
            <a:ext cx="2159519" cy="861774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US" sz="2000" b="1" dirty="0">
                <a:cs typeface="+mn-cs"/>
              </a:rPr>
              <a:t>Pick a random move</a:t>
            </a:r>
            <a:endParaRPr lang="en-US" b="1" dirty="0">
              <a:cs typeface="+mn-cs"/>
            </a:endParaRPr>
          </a:p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US" dirty="0">
                <a:cs typeface="+mn-cs"/>
              </a:rPr>
              <a:t>From the list </a:t>
            </a:r>
            <a:r>
              <a:rPr lang="en-US" u="sng" dirty="0">
                <a:cs typeface="+mn-cs"/>
              </a:rPr>
              <a:t>[-1, 1]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F07A99D3-649D-4221-846B-C360932741CF}"/>
              </a:ext>
            </a:extLst>
          </p:cNvPr>
          <p:cNvSpPr txBox="1"/>
          <p:nvPr/>
        </p:nvSpPr>
        <p:spPr>
          <a:xfrm>
            <a:off x="5713298" y="2272904"/>
            <a:ext cx="2447722" cy="553998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US" sz="2000" b="1" dirty="0">
                <a:cs typeface="+mn-cs"/>
              </a:rPr>
              <a:t>Pick a random car</a:t>
            </a:r>
            <a:endParaRPr lang="en-US" b="1" dirty="0">
              <a:cs typeface="+mn-cs"/>
            </a:endParaRPr>
          </a:p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US" dirty="0">
                <a:cs typeface="+mn-cs"/>
              </a:rPr>
              <a:t>From </a:t>
            </a:r>
            <a:r>
              <a:rPr lang="en-US" u="sng" dirty="0">
                <a:cs typeface="+mn-cs"/>
              </a:rPr>
              <a:t>all the cars</a:t>
            </a:r>
            <a:endParaRPr lang="en-US" dirty="0">
              <a:cs typeface="+mn-cs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62B51DF6-DD4F-4153-99FF-DD5CCA4CE92B}"/>
              </a:ext>
            </a:extLst>
          </p:cNvPr>
          <p:cNvSpPr txBox="1"/>
          <p:nvPr/>
        </p:nvSpPr>
        <p:spPr>
          <a:xfrm>
            <a:off x="796575" y="2272904"/>
            <a:ext cx="2159519" cy="553998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algn="r">
              <a:spcBef>
                <a:spcPts val="0"/>
              </a:spcBef>
              <a:spcAft>
                <a:spcPts val="0"/>
              </a:spcAft>
            </a:pPr>
            <a:r>
              <a:rPr lang="en-US" sz="2000" b="1" dirty="0">
                <a:cs typeface="+mn-cs"/>
              </a:rPr>
              <a:t>Check if won </a:t>
            </a:r>
            <a:endParaRPr lang="en-US" b="1" dirty="0">
              <a:cs typeface="+mn-cs"/>
            </a:endParaRPr>
          </a:p>
          <a:p>
            <a:pPr algn="r">
              <a:spcBef>
                <a:spcPts val="0"/>
              </a:spcBef>
              <a:spcAft>
                <a:spcPts val="0"/>
              </a:spcAft>
            </a:pPr>
            <a:r>
              <a:rPr lang="en-US" dirty="0">
                <a:cs typeface="+mn-cs"/>
              </a:rPr>
              <a:t>Continue if not won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B5991773-1791-4E75-A418-A78A26FCE1CF}"/>
              </a:ext>
            </a:extLst>
          </p:cNvPr>
          <p:cNvSpPr txBox="1"/>
          <p:nvPr/>
        </p:nvSpPr>
        <p:spPr>
          <a:xfrm>
            <a:off x="1054615" y="4904284"/>
            <a:ext cx="1901478" cy="1107996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algn="r">
              <a:spcBef>
                <a:spcPts val="0"/>
              </a:spcBef>
              <a:spcAft>
                <a:spcPts val="0"/>
              </a:spcAft>
            </a:pPr>
            <a:r>
              <a:rPr lang="en-US" sz="2000" b="1" dirty="0">
                <a:cs typeface="+mn-cs"/>
              </a:rPr>
              <a:t>Input the move in the game</a:t>
            </a:r>
          </a:p>
          <a:p>
            <a:pPr algn="r">
              <a:spcBef>
                <a:spcPts val="0"/>
              </a:spcBef>
              <a:spcAft>
                <a:spcPts val="0"/>
              </a:spcAft>
            </a:pPr>
            <a:r>
              <a:rPr lang="en-US" dirty="0">
                <a:cs typeface="+mn-cs"/>
              </a:rPr>
              <a:t>If possible perform the move</a:t>
            </a:r>
          </a:p>
        </p:txBody>
      </p:sp>
      <p:sp>
        <p:nvSpPr>
          <p:cNvPr id="49" name="Arc 48">
            <a:extLst>
              <a:ext uri="{FF2B5EF4-FFF2-40B4-BE49-F238E27FC236}">
                <a16:creationId xmlns:a16="http://schemas.microsoft.com/office/drawing/2014/main" id="{0C8594D0-8D84-49D5-88C1-9338DB081BF4}"/>
              </a:ext>
            </a:extLst>
          </p:cNvPr>
          <p:cNvSpPr/>
          <p:nvPr/>
        </p:nvSpPr>
        <p:spPr>
          <a:xfrm rot="16200000">
            <a:off x="3056039" y="2547375"/>
            <a:ext cx="2560183" cy="2542427"/>
          </a:xfrm>
          <a:prstGeom prst="arc">
            <a:avLst>
              <a:gd name="adj1" fmla="val 16591666"/>
              <a:gd name="adj2" fmla="val 21204306"/>
            </a:avLst>
          </a:prstGeom>
          <a:ln w="12700" cap="flat">
            <a:solidFill>
              <a:schemeClr val="tx1"/>
            </a:solidFill>
            <a:miter lim="800000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0" name="Arc 49">
            <a:extLst>
              <a:ext uri="{FF2B5EF4-FFF2-40B4-BE49-F238E27FC236}">
                <a16:creationId xmlns:a16="http://schemas.microsoft.com/office/drawing/2014/main" id="{E00F59AC-5B07-4271-9CD3-6FF78EBDA4ED}"/>
              </a:ext>
            </a:extLst>
          </p:cNvPr>
          <p:cNvSpPr/>
          <p:nvPr/>
        </p:nvSpPr>
        <p:spPr>
          <a:xfrm rot="5400000">
            <a:off x="3056035" y="2547378"/>
            <a:ext cx="2560187" cy="2542427"/>
          </a:xfrm>
          <a:prstGeom prst="arc">
            <a:avLst>
              <a:gd name="adj1" fmla="val 16596109"/>
              <a:gd name="adj2" fmla="val 21193407"/>
            </a:avLst>
          </a:prstGeom>
          <a:ln w="12700" cap="flat">
            <a:solidFill>
              <a:schemeClr val="tx1"/>
            </a:solidFill>
            <a:miter lim="800000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5" name="Arc 54">
            <a:extLst>
              <a:ext uri="{FF2B5EF4-FFF2-40B4-BE49-F238E27FC236}">
                <a16:creationId xmlns:a16="http://schemas.microsoft.com/office/drawing/2014/main" id="{0B649FF2-FF7C-471D-8624-8286B34BE919}"/>
              </a:ext>
            </a:extLst>
          </p:cNvPr>
          <p:cNvSpPr/>
          <p:nvPr/>
        </p:nvSpPr>
        <p:spPr>
          <a:xfrm rot="16200000">
            <a:off x="3056039" y="2547375"/>
            <a:ext cx="2560183" cy="2542427"/>
          </a:xfrm>
          <a:prstGeom prst="arc">
            <a:avLst>
              <a:gd name="adj1" fmla="val 11194517"/>
              <a:gd name="adj2" fmla="val 15800478"/>
            </a:avLst>
          </a:prstGeom>
          <a:ln w="12700" cap="flat">
            <a:solidFill>
              <a:schemeClr val="tx1"/>
            </a:solidFill>
            <a:miter lim="800000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Arc 21">
            <a:extLst>
              <a:ext uri="{FF2B5EF4-FFF2-40B4-BE49-F238E27FC236}">
                <a16:creationId xmlns:a16="http://schemas.microsoft.com/office/drawing/2014/main" id="{F3AE8152-0715-4376-ACEF-3C9961886881}"/>
              </a:ext>
            </a:extLst>
          </p:cNvPr>
          <p:cNvSpPr/>
          <p:nvPr/>
        </p:nvSpPr>
        <p:spPr>
          <a:xfrm rot="5400000">
            <a:off x="3053168" y="2550844"/>
            <a:ext cx="2560186" cy="2542427"/>
          </a:xfrm>
          <a:prstGeom prst="arc">
            <a:avLst>
              <a:gd name="adj1" fmla="val 11189150"/>
              <a:gd name="adj2" fmla="val 15796120"/>
            </a:avLst>
          </a:prstGeom>
          <a:ln w="12700" cap="flat">
            <a:solidFill>
              <a:schemeClr val="tx1"/>
            </a:solidFill>
            <a:miter lim="800000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5" name="Rectangle 286">
            <a:extLst>
              <a:ext uri="{FF2B5EF4-FFF2-40B4-BE49-F238E27FC236}">
                <a16:creationId xmlns:a16="http://schemas.microsoft.com/office/drawing/2014/main" id="{F62B9A23-52C2-44A7-A860-2E9089B49C3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197260" y="3674161"/>
            <a:ext cx="2277740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182880" tIns="0" rIns="182880" bIns="0" numCol="1" anchor="ctr" anchorCtr="0" compatLnSpc="1">
            <a:prstTxWarp prst="textNoShape">
              <a:avLst/>
            </a:prstTxWarp>
            <a:sp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6125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algn="ctr" defTabSz="677830"/>
            <a:r>
              <a:rPr lang="en-US" sz="2000" b="1" dirty="0"/>
              <a:t>Random algorithm</a:t>
            </a:r>
          </a:p>
        </p:txBody>
      </p:sp>
      <p:sp>
        <p:nvSpPr>
          <p:cNvPr id="42" name="Oval 41">
            <a:extLst>
              <a:ext uri="{FF2B5EF4-FFF2-40B4-BE49-F238E27FC236}">
                <a16:creationId xmlns:a16="http://schemas.microsoft.com/office/drawing/2014/main" id="{709CA70E-0BFB-4576-B6AC-970DF4C5A397}"/>
              </a:ext>
            </a:extLst>
          </p:cNvPr>
          <p:cNvSpPr>
            <a:spLocks noChangeAspect="1"/>
          </p:cNvSpPr>
          <p:nvPr/>
        </p:nvSpPr>
        <p:spPr>
          <a:xfrm>
            <a:off x="5105274" y="2533779"/>
            <a:ext cx="245147" cy="311236"/>
          </a:xfrm>
          <a:prstGeom prst="ellipse">
            <a:avLst/>
          </a:prstGeom>
          <a:solidFill>
            <a:schemeClr val="accent1"/>
          </a:solidFill>
          <a:ln w="6350" cap="rnd">
            <a:noFill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 dirty="0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43" name="Oval 42">
            <a:extLst>
              <a:ext uri="{FF2B5EF4-FFF2-40B4-BE49-F238E27FC236}">
                <a16:creationId xmlns:a16="http://schemas.microsoft.com/office/drawing/2014/main" id="{9C8E9AB5-0E74-46D6-96FB-A2283C63514A}"/>
              </a:ext>
            </a:extLst>
          </p:cNvPr>
          <p:cNvSpPr>
            <a:spLocks noChangeAspect="1"/>
          </p:cNvSpPr>
          <p:nvPr/>
        </p:nvSpPr>
        <p:spPr>
          <a:xfrm>
            <a:off x="5105274" y="4819031"/>
            <a:ext cx="245147" cy="311236"/>
          </a:xfrm>
          <a:prstGeom prst="ellipse">
            <a:avLst/>
          </a:prstGeom>
          <a:solidFill>
            <a:schemeClr val="accent1"/>
          </a:solidFill>
          <a:ln w="6350" cap="rnd">
            <a:noFill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 dirty="0"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45" name="Oval 44">
            <a:extLst>
              <a:ext uri="{FF2B5EF4-FFF2-40B4-BE49-F238E27FC236}">
                <a16:creationId xmlns:a16="http://schemas.microsoft.com/office/drawing/2014/main" id="{279E6F23-E7CC-4225-BC92-5124DB1E9301}"/>
              </a:ext>
            </a:extLst>
          </p:cNvPr>
          <p:cNvSpPr>
            <a:spLocks noChangeAspect="1"/>
          </p:cNvSpPr>
          <p:nvPr/>
        </p:nvSpPr>
        <p:spPr>
          <a:xfrm>
            <a:off x="3317078" y="2533779"/>
            <a:ext cx="245147" cy="311236"/>
          </a:xfrm>
          <a:prstGeom prst="ellipse">
            <a:avLst/>
          </a:prstGeom>
          <a:solidFill>
            <a:schemeClr val="accent1"/>
          </a:solidFill>
          <a:ln w="6350" cap="rnd">
            <a:noFill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 dirty="0">
                <a:solidFill>
                  <a:schemeClr val="bg1"/>
                </a:solidFill>
              </a:rPr>
              <a:t>4</a:t>
            </a:r>
          </a:p>
        </p:txBody>
      </p:sp>
      <p:sp>
        <p:nvSpPr>
          <p:cNvPr id="46" name="Oval 45">
            <a:extLst>
              <a:ext uri="{FF2B5EF4-FFF2-40B4-BE49-F238E27FC236}">
                <a16:creationId xmlns:a16="http://schemas.microsoft.com/office/drawing/2014/main" id="{6152A6C9-DF5D-4B9B-872F-1C5629F57FDD}"/>
              </a:ext>
            </a:extLst>
          </p:cNvPr>
          <p:cNvSpPr>
            <a:spLocks noChangeAspect="1"/>
          </p:cNvSpPr>
          <p:nvPr/>
        </p:nvSpPr>
        <p:spPr>
          <a:xfrm>
            <a:off x="3317078" y="4819031"/>
            <a:ext cx="245147" cy="311236"/>
          </a:xfrm>
          <a:prstGeom prst="ellipse">
            <a:avLst/>
          </a:prstGeom>
          <a:solidFill>
            <a:schemeClr val="accent1"/>
          </a:solidFill>
          <a:ln w="6350" cap="rnd">
            <a:noFill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 dirty="0">
                <a:solidFill>
                  <a:schemeClr val="bg1"/>
                </a:solidFill>
              </a:rPr>
              <a:t>3</a:t>
            </a:r>
          </a:p>
        </p:txBody>
      </p:sp>
      <p:pic>
        <p:nvPicPr>
          <p:cNvPr id="25" name="CustomIcon">
            <a:extLst>
              <a:ext uri="{FF2B5EF4-FFF2-40B4-BE49-F238E27FC236}">
                <a16:creationId xmlns:a16="http://schemas.microsoft.com/office/drawing/2014/main" id="{C26A6654-519D-430B-A6CE-5E3916E886D3}"/>
              </a:ext>
            </a:extLst>
          </p:cNvPr>
          <p:cNvPicPr>
            <a:picLocks noChangeAspect="1"/>
          </p:cNvPicPr>
          <p:nvPr>
            <p:custDataLst>
              <p:tags r:id="rId8"/>
            </p:custDataLst>
          </p:nvPr>
        </p:nvPicPr>
        <p:blipFill>
          <a:blip r:embed="rId16">
            <a:extLs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8099452" y="2307703"/>
            <a:ext cx="551213" cy="609600"/>
          </a:xfrm>
          <a:prstGeom prst="rect">
            <a:avLst/>
          </a:prstGeom>
        </p:spPr>
      </p:pic>
      <p:pic>
        <p:nvPicPr>
          <p:cNvPr id="30" name="CustomIcon">
            <a:extLst>
              <a:ext uri="{FF2B5EF4-FFF2-40B4-BE49-F238E27FC236}">
                <a16:creationId xmlns:a16="http://schemas.microsoft.com/office/drawing/2014/main" id="{2F98A230-1ADA-4899-A2FA-26EF9949CF5C}"/>
              </a:ext>
            </a:extLst>
          </p:cNvPr>
          <p:cNvPicPr>
            <a:picLocks noChangeAspect="1"/>
          </p:cNvPicPr>
          <p:nvPr>
            <p:custDataLst>
              <p:tags r:id="rId9"/>
            </p:custDataLst>
          </p:nvPr>
        </p:nvPicPr>
        <p:blipFill>
          <a:blip r:embed="rId18">
            <a:extLs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>
            <a:off x="466427" y="2297511"/>
            <a:ext cx="551213" cy="609600"/>
          </a:xfrm>
          <a:prstGeom prst="rect">
            <a:avLst/>
          </a:prstGeom>
        </p:spPr>
      </p:pic>
      <p:pic>
        <p:nvPicPr>
          <p:cNvPr id="32" name="CustomIcon">
            <a:extLst>
              <a:ext uri="{FF2B5EF4-FFF2-40B4-BE49-F238E27FC236}">
                <a16:creationId xmlns:a16="http://schemas.microsoft.com/office/drawing/2014/main" id="{E0F17016-5979-423F-A54B-B4B0D1C3AEEE}"/>
              </a:ext>
            </a:extLst>
          </p:cNvPr>
          <p:cNvPicPr>
            <a:picLocks noChangeAspect="1"/>
          </p:cNvPicPr>
          <p:nvPr>
            <p:custDataLst>
              <p:tags r:id="rId10"/>
            </p:custDataLst>
          </p:nvPr>
        </p:nvPicPr>
        <p:blipFill>
          <a:blip r:embed="rId20">
            <a:extLst>
              <a:ext uri="{96DAC541-7B7A-43D3-8B79-37D633B846F1}">
                <asvg:svgBlip xmlns:asvg="http://schemas.microsoft.com/office/drawing/2016/SVG/main" r:embed="rId21"/>
              </a:ext>
            </a:extLst>
          </a:blip>
          <a:stretch>
            <a:fillRect/>
          </a:stretch>
        </p:blipFill>
        <p:spPr>
          <a:xfrm>
            <a:off x="520969" y="5153482"/>
            <a:ext cx="551213" cy="609600"/>
          </a:xfrm>
          <a:prstGeom prst="rect">
            <a:avLst/>
          </a:prstGeom>
        </p:spPr>
      </p:pic>
      <p:sp>
        <p:nvSpPr>
          <p:cNvPr id="34" name="Arrow: Chevron 33">
            <a:extLst>
              <a:ext uri="{FF2B5EF4-FFF2-40B4-BE49-F238E27FC236}">
                <a16:creationId xmlns:a16="http://schemas.microsoft.com/office/drawing/2014/main" id="{DCF0AFE2-1835-43B0-8B98-D870BE197EA4}"/>
              </a:ext>
            </a:extLst>
          </p:cNvPr>
          <p:cNvSpPr/>
          <p:nvPr/>
        </p:nvSpPr>
        <p:spPr>
          <a:xfrm>
            <a:off x="8693658" y="1554480"/>
            <a:ext cx="484632" cy="484632"/>
          </a:xfrm>
          <a:prstGeom prst="chevron">
            <a:avLst/>
          </a:prstGeom>
          <a:solidFill>
            <a:schemeClr val="accent2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44" name="Arrow: Chevron 43">
            <a:extLst>
              <a:ext uri="{FF2B5EF4-FFF2-40B4-BE49-F238E27FC236}">
                <a16:creationId xmlns:a16="http://schemas.microsoft.com/office/drawing/2014/main" id="{311C0134-3EA8-419D-87C2-A470E6C22F45}"/>
              </a:ext>
            </a:extLst>
          </p:cNvPr>
          <p:cNvSpPr/>
          <p:nvPr/>
        </p:nvSpPr>
        <p:spPr>
          <a:xfrm>
            <a:off x="8686799" y="1638620"/>
            <a:ext cx="343341" cy="343341"/>
          </a:xfrm>
          <a:prstGeom prst="chevron">
            <a:avLst/>
          </a:prstGeom>
          <a:solidFill>
            <a:schemeClr val="accent3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B61B0A76-DB79-43E6-8B69-6E5DF5392E7B}"/>
              </a:ext>
            </a:extLst>
          </p:cNvPr>
          <p:cNvSpPr txBox="1"/>
          <p:nvPr/>
        </p:nvSpPr>
        <p:spPr>
          <a:xfrm>
            <a:off x="565988" y="1395084"/>
            <a:ext cx="2447722" cy="307777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US" sz="2000" b="1" dirty="0">
                <a:cs typeface="+mn-cs"/>
              </a:rPr>
              <a:t>Description</a:t>
            </a:r>
            <a:endParaRPr lang="en-US" dirty="0">
              <a:cs typeface="+mn-cs"/>
            </a:endParaRP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443E8F0F-60D2-4D9E-BE1B-CAC410FB8A47}"/>
              </a:ext>
            </a:extLst>
          </p:cNvPr>
          <p:cNvSpPr txBox="1"/>
          <p:nvPr/>
        </p:nvSpPr>
        <p:spPr>
          <a:xfrm>
            <a:off x="9167230" y="1395084"/>
            <a:ext cx="2447722" cy="307777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US" sz="2000" b="1" dirty="0">
                <a:cs typeface="+mn-cs"/>
              </a:rPr>
              <a:t>Take-aways</a:t>
            </a:r>
            <a:endParaRPr lang="en-US" dirty="0"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887592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2" hidden="1">
            <a:extLst>
              <a:ext uri="{FF2B5EF4-FFF2-40B4-BE49-F238E27FC236}">
                <a16:creationId xmlns:a16="http://schemas.microsoft.com/office/drawing/2014/main" id="{75B3ACA5-822D-4DD8-AD27-A01FCB89231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8108" name="think-cell Slide" r:id="rId12" imgW="592" imgH="591" progId="TCLayout.ActiveDocument.1">
                  <p:embed/>
                </p:oleObj>
              </mc:Choice>
              <mc:Fallback>
                <p:oleObj name="think-cell Slide" r:id="rId12" imgW="592" imgH="591" progId="TCLayout.ActiveDocument.1">
                  <p:embed/>
                  <p:pic>
                    <p:nvPicPr>
                      <p:cNvPr id="7" name="Object 2" hidden="1">
                        <a:extLst>
                          <a:ext uri="{FF2B5EF4-FFF2-40B4-BE49-F238E27FC236}">
                            <a16:creationId xmlns:a16="http://schemas.microsoft.com/office/drawing/2014/main" id="{75B3ACA5-822D-4DD8-AD27-A01FCB89231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" hidden="1">
            <a:extLst>
              <a:ext uri="{FF2B5EF4-FFF2-40B4-BE49-F238E27FC236}">
                <a16:creationId xmlns:a16="http://schemas.microsoft.com/office/drawing/2014/main" id="{B38CA918-E19D-4D77-A525-FB7769A349E5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2500" b="1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6" name="2. Slide Title">
            <a:extLst>
              <a:ext uri="{FF2B5EF4-FFF2-40B4-BE49-F238E27FC236}">
                <a16:creationId xmlns:a16="http://schemas.microsoft.com/office/drawing/2014/main" id="{015E69FB-49E9-4802-8601-954D7DA0143E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371047"/>
            <a:ext cx="11082528" cy="731520"/>
          </a:xfrm>
        </p:spPr>
        <p:txBody>
          <a:bodyPr/>
          <a:lstStyle/>
          <a:p>
            <a:r>
              <a:rPr lang="en-US" dirty="0"/>
              <a:t>Random </a:t>
            </a:r>
            <a:r>
              <a:rPr lang="en-US" dirty="0">
                <a:solidFill>
                  <a:schemeClr val="accent2">
                    <a:lumMod val="75000"/>
                  </a:schemeClr>
                </a:solidFill>
              </a:rPr>
              <a:t>advanced </a:t>
            </a:r>
            <a:r>
              <a:rPr lang="en-US" dirty="0"/>
              <a:t>algorithm met </a:t>
            </a:r>
            <a:r>
              <a:rPr lang="en-US" dirty="0" err="1"/>
              <a:t>heuristiek</a:t>
            </a:r>
            <a:r>
              <a:rPr lang="en-US" dirty="0"/>
              <a:t> 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4C5B12E0-FA5E-4CD7-B72F-2A27D420855C}"/>
              </a:ext>
            </a:extLst>
          </p:cNvPr>
          <p:cNvSpPr txBox="1"/>
          <p:nvPr/>
        </p:nvSpPr>
        <p:spPr>
          <a:xfrm>
            <a:off x="8877300" y="1874236"/>
            <a:ext cx="2102894" cy="4206523"/>
          </a:xfrm>
          <a:prstGeom prst="rect">
            <a:avLst/>
          </a:prstGeom>
        </p:spPr>
        <p:txBody>
          <a:bodyPr vert="horz" wrap="square" lIns="274320" tIns="0" rIns="0" bIns="0" rtlCol="0" anchor="t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1">
              <a:spcAft>
                <a:spcPts val="600"/>
              </a:spcAft>
            </a:pPr>
            <a:r>
              <a:rPr lang="en-US" sz="1400" dirty="0"/>
              <a:t>Is expected to need </a:t>
            </a:r>
            <a:r>
              <a:rPr lang="en-US" sz="1400" u="sng" dirty="0"/>
              <a:t>less moves </a:t>
            </a:r>
            <a:r>
              <a:rPr lang="en-US" sz="1400" dirty="0"/>
              <a:t>to solve the game </a:t>
            </a:r>
          </a:p>
          <a:p>
            <a:pPr lvl="1">
              <a:spcAft>
                <a:spcPts val="600"/>
              </a:spcAft>
            </a:pPr>
            <a:r>
              <a:rPr lang="en-US" sz="1400" dirty="0"/>
              <a:t>Is expected to need </a:t>
            </a:r>
            <a:r>
              <a:rPr lang="en-US" sz="1400" u="sng" dirty="0"/>
              <a:t>more time </a:t>
            </a:r>
            <a:r>
              <a:rPr lang="en-US" sz="1400" dirty="0"/>
              <a:t>for the extra steps</a:t>
            </a:r>
          </a:p>
          <a:p>
            <a:pPr lvl="1">
              <a:spcAft>
                <a:spcPts val="600"/>
              </a:spcAft>
            </a:pPr>
            <a:r>
              <a:rPr lang="en-US" sz="1400" dirty="0"/>
              <a:t>It surely doesn’t find the optimal solution</a:t>
            </a:r>
          </a:p>
          <a:p>
            <a:pPr lvl="1">
              <a:spcAft>
                <a:spcPts val="600"/>
              </a:spcAft>
            </a:pPr>
            <a:endParaRPr lang="en-US" sz="1400" b="1" dirty="0"/>
          </a:p>
        </p:txBody>
      </p:sp>
      <p:cxnSp>
        <p:nvCxnSpPr>
          <p:cNvPr id="9" name="Straight Arrow Connector 8">
            <a:extLst>
              <a:ext uri="{FF2B5EF4-FFF2-40B4-BE49-F238E27FC236}">
                <a16:creationId xmlns:a16="http://schemas.microsoft.com/office/drawing/2014/main" id="{B30B89E3-22B5-43D6-A017-09A9645E64E8}"/>
              </a:ext>
            </a:extLst>
          </p:cNvPr>
          <p:cNvCxnSpPr/>
          <p:nvPr/>
        </p:nvCxnSpPr>
        <p:spPr>
          <a:xfrm>
            <a:off x="8877300" y="1874236"/>
            <a:ext cx="0" cy="4206523"/>
          </a:xfrm>
          <a:prstGeom prst="straightConnector1">
            <a:avLst/>
          </a:prstGeom>
          <a:ln w="19050" cap="sq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LineBasicDefault 16">
            <a:extLst>
              <a:ext uri="{FF2B5EF4-FFF2-40B4-BE49-F238E27FC236}">
                <a16:creationId xmlns:a16="http://schemas.microsoft.com/office/drawing/2014/main" id="{F4925639-E01F-42AD-B670-FDCEA9494274}"/>
              </a:ext>
            </a:extLst>
          </p:cNvPr>
          <p:cNvCxnSpPr>
            <a:cxnSpLocks/>
          </p:cNvCxnSpPr>
          <p:nvPr>
            <p:custDataLst>
              <p:tags r:id="rId5"/>
            </p:custDataLst>
          </p:nvPr>
        </p:nvCxnSpPr>
        <p:spPr>
          <a:xfrm>
            <a:off x="565988" y="1737360"/>
            <a:ext cx="8091355" cy="0"/>
          </a:xfrm>
          <a:prstGeom prst="straightConnector1">
            <a:avLst/>
          </a:prstGeom>
          <a:ln w="6350" cap="sq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LineBasicDefault 16">
            <a:extLst>
              <a:ext uri="{FF2B5EF4-FFF2-40B4-BE49-F238E27FC236}">
                <a16:creationId xmlns:a16="http://schemas.microsoft.com/office/drawing/2014/main" id="{AB9CC399-DFF5-489B-AAB0-4071CA65DC0E}"/>
              </a:ext>
            </a:extLst>
          </p:cNvPr>
          <p:cNvCxnSpPr>
            <a:cxnSpLocks/>
          </p:cNvCxnSpPr>
          <p:nvPr>
            <p:custDataLst>
              <p:tags r:id="rId6"/>
            </p:custDataLst>
          </p:nvPr>
        </p:nvCxnSpPr>
        <p:spPr>
          <a:xfrm>
            <a:off x="9121140" y="1737360"/>
            <a:ext cx="2926877" cy="0"/>
          </a:xfrm>
          <a:prstGeom prst="straightConnector1">
            <a:avLst/>
          </a:prstGeom>
          <a:ln w="6350" cap="sq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7" name="CustomIcon">
            <a:extLst>
              <a:ext uri="{FF2B5EF4-FFF2-40B4-BE49-F238E27FC236}">
                <a16:creationId xmlns:a16="http://schemas.microsoft.com/office/drawing/2014/main" id="{F6F531E7-40C5-4AAC-A974-4BF691696D1D}"/>
              </a:ext>
            </a:extLst>
          </p:cNvPr>
          <p:cNvPicPr>
            <a:picLocks noChangeAspect="1"/>
          </p:cNvPicPr>
          <p:nvPr>
            <p:custDataLst>
              <p:tags r:id="rId7"/>
            </p:custDataLst>
          </p:nvPr>
        </p:nvPicPr>
        <p:blipFill>
          <a:blip r:embed="rId14">
            <a:extLs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8041065" y="5102149"/>
            <a:ext cx="609600" cy="609600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8D309EDE-AEC1-4122-A2E6-3715A7DF5F5C}"/>
              </a:ext>
            </a:extLst>
          </p:cNvPr>
          <p:cNvSpPr txBox="1"/>
          <p:nvPr/>
        </p:nvSpPr>
        <p:spPr>
          <a:xfrm>
            <a:off x="5694647" y="4543762"/>
            <a:ext cx="2159519" cy="1846659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US" sz="2000" b="1" dirty="0">
                <a:cs typeface="+mn-cs"/>
              </a:rPr>
              <a:t>Pick a random move</a:t>
            </a:r>
            <a:endParaRPr lang="en-US" b="1" dirty="0">
              <a:cs typeface="+mn-cs"/>
            </a:endParaRPr>
          </a:p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US" dirty="0">
                <a:cs typeface="+mn-cs"/>
              </a:rPr>
              <a:t>From the list </a:t>
            </a:r>
            <a:r>
              <a:rPr lang="en-US" u="sng" dirty="0">
                <a:cs typeface="+mn-cs"/>
              </a:rPr>
              <a:t>[-1, 1]</a:t>
            </a:r>
          </a:p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US" u="sng" dirty="0">
                <a:solidFill>
                  <a:schemeClr val="accent2">
                    <a:lumMod val="75000"/>
                  </a:schemeClr>
                </a:solidFill>
                <a:cs typeface="+mn-cs"/>
              </a:rPr>
              <a:t>If the same car is moved multiple times in a row, this is seen as one move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F07A99D3-649D-4221-846B-C360932741CF}"/>
              </a:ext>
            </a:extLst>
          </p:cNvPr>
          <p:cNvSpPr txBox="1"/>
          <p:nvPr/>
        </p:nvSpPr>
        <p:spPr>
          <a:xfrm>
            <a:off x="5713298" y="2272904"/>
            <a:ext cx="2447722" cy="553998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US" sz="2000" b="1" dirty="0">
                <a:cs typeface="+mn-cs"/>
              </a:rPr>
              <a:t>Pick a random car</a:t>
            </a:r>
            <a:endParaRPr lang="en-US" b="1" dirty="0">
              <a:cs typeface="+mn-cs"/>
            </a:endParaRPr>
          </a:p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US" dirty="0">
                <a:cs typeface="+mn-cs"/>
              </a:rPr>
              <a:t>From </a:t>
            </a:r>
            <a:r>
              <a:rPr lang="en-US" u="sng" dirty="0">
                <a:solidFill>
                  <a:schemeClr val="accent2">
                    <a:lumMod val="75000"/>
                  </a:schemeClr>
                </a:solidFill>
                <a:cs typeface="+mn-cs"/>
              </a:rPr>
              <a:t>the moveable cars</a:t>
            </a:r>
            <a:endParaRPr lang="en-US" dirty="0">
              <a:solidFill>
                <a:schemeClr val="accent2">
                  <a:lumMod val="75000"/>
                </a:schemeClr>
              </a:solidFill>
              <a:cs typeface="+mn-cs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62B51DF6-DD4F-4153-99FF-DD5CCA4CE92B}"/>
              </a:ext>
            </a:extLst>
          </p:cNvPr>
          <p:cNvSpPr txBox="1"/>
          <p:nvPr/>
        </p:nvSpPr>
        <p:spPr>
          <a:xfrm>
            <a:off x="959155" y="1956273"/>
            <a:ext cx="1996939" cy="1292662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algn="r">
              <a:spcBef>
                <a:spcPts val="0"/>
              </a:spcBef>
              <a:spcAft>
                <a:spcPts val="0"/>
              </a:spcAft>
            </a:pPr>
            <a:r>
              <a:rPr lang="en-US" sz="2000" b="1" dirty="0">
                <a:cs typeface="+mn-cs"/>
              </a:rPr>
              <a:t>Check if won </a:t>
            </a:r>
            <a:endParaRPr lang="en-US" b="1" dirty="0">
              <a:cs typeface="+mn-cs"/>
            </a:endParaRPr>
          </a:p>
          <a:p>
            <a:pPr algn="r">
              <a:spcBef>
                <a:spcPts val="0"/>
              </a:spcBef>
              <a:spcAft>
                <a:spcPts val="0"/>
              </a:spcAft>
            </a:pPr>
            <a:r>
              <a:rPr lang="en-US" dirty="0">
                <a:cs typeface="+mn-cs"/>
              </a:rPr>
              <a:t>Continue if not won</a:t>
            </a:r>
          </a:p>
          <a:p>
            <a:pPr algn="r">
              <a:spcBef>
                <a:spcPts val="0"/>
              </a:spcBef>
              <a:spcAft>
                <a:spcPts val="0"/>
              </a:spcAft>
            </a:pPr>
            <a:r>
              <a:rPr lang="en-US" dirty="0">
                <a:solidFill>
                  <a:schemeClr val="accent2">
                    <a:lumMod val="75000"/>
                  </a:schemeClr>
                </a:solidFill>
                <a:cs typeface="+mn-cs"/>
              </a:rPr>
              <a:t>By checking if no other car is blocking the X car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B5991773-1791-4E75-A418-A78A26FCE1CF}"/>
              </a:ext>
            </a:extLst>
          </p:cNvPr>
          <p:cNvSpPr txBox="1"/>
          <p:nvPr/>
        </p:nvSpPr>
        <p:spPr>
          <a:xfrm>
            <a:off x="1054615" y="4904284"/>
            <a:ext cx="1901478" cy="1107996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algn="r">
              <a:spcBef>
                <a:spcPts val="0"/>
              </a:spcBef>
              <a:spcAft>
                <a:spcPts val="0"/>
              </a:spcAft>
            </a:pPr>
            <a:r>
              <a:rPr lang="en-US" sz="2000" b="1" dirty="0">
                <a:cs typeface="+mn-cs"/>
              </a:rPr>
              <a:t>Input the move in the game</a:t>
            </a:r>
          </a:p>
          <a:p>
            <a:pPr algn="r">
              <a:spcBef>
                <a:spcPts val="0"/>
              </a:spcBef>
              <a:spcAft>
                <a:spcPts val="0"/>
              </a:spcAft>
            </a:pPr>
            <a:r>
              <a:rPr lang="en-US" dirty="0">
                <a:cs typeface="+mn-cs"/>
              </a:rPr>
              <a:t>If possible perform the move</a:t>
            </a:r>
          </a:p>
        </p:txBody>
      </p:sp>
      <p:sp>
        <p:nvSpPr>
          <p:cNvPr id="49" name="Arc 48">
            <a:extLst>
              <a:ext uri="{FF2B5EF4-FFF2-40B4-BE49-F238E27FC236}">
                <a16:creationId xmlns:a16="http://schemas.microsoft.com/office/drawing/2014/main" id="{0C8594D0-8D84-49D5-88C1-9338DB081BF4}"/>
              </a:ext>
            </a:extLst>
          </p:cNvPr>
          <p:cNvSpPr/>
          <p:nvPr/>
        </p:nvSpPr>
        <p:spPr>
          <a:xfrm rot="16200000">
            <a:off x="2969908" y="2663029"/>
            <a:ext cx="2732445" cy="2542427"/>
          </a:xfrm>
          <a:prstGeom prst="arc">
            <a:avLst>
              <a:gd name="adj1" fmla="val 16591666"/>
              <a:gd name="adj2" fmla="val 21204306"/>
            </a:avLst>
          </a:prstGeom>
          <a:ln w="12700" cap="flat">
            <a:solidFill>
              <a:schemeClr val="tx1"/>
            </a:solidFill>
            <a:miter lim="800000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0" name="Arc 49">
            <a:extLst>
              <a:ext uri="{FF2B5EF4-FFF2-40B4-BE49-F238E27FC236}">
                <a16:creationId xmlns:a16="http://schemas.microsoft.com/office/drawing/2014/main" id="{E00F59AC-5B07-4271-9CD3-6FF78EBDA4ED}"/>
              </a:ext>
            </a:extLst>
          </p:cNvPr>
          <p:cNvSpPr/>
          <p:nvPr/>
        </p:nvSpPr>
        <p:spPr>
          <a:xfrm rot="5400000">
            <a:off x="2969908" y="2492835"/>
            <a:ext cx="2732442" cy="2542427"/>
          </a:xfrm>
          <a:prstGeom prst="arc">
            <a:avLst>
              <a:gd name="adj1" fmla="val 16596109"/>
              <a:gd name="adj2" fmla="val 21193407"/>
            </a:avLst>
          </a:prstGeom>
          <a:ln w="12700" cap="flat">
            <a:solidFill>
              <a:schemeClr val="tx1"/>
            </a:solidFill>
            <a:miter lim="800000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5" name="Arc 54">
            <a:extLst>
              <a:ext uri="{FF2B5EF4-FFF2-40B4-BE49-F238E27FC236}">
                <a16:creationId xmlns:a16="http://schemas.microsoft.com/office/drawing/2014/main" id="{0B649FF2-FF7C-471D-8624-8286B34BE919}"/>
              </a:ext>
            </a:extLst>
          </p:cNvPr>
          <p:cNvSpPr/>
          <p:nvPr/>
        </p:nvSpPr>
        <p:spPr>
          <a:xfrm rot="16200000">
            <a:off x="2969911" y="2492834"/>
            <a:ext cx="2732440" cy="2542427"/>
          </a:xfrm>
          <a:prstGeom prst="arc">
            <a:avLst>
              <a:gd name="adj1" fmla="val 11194517"/>
              <a:gd name="adj2" fmla="val 15800478"/>
            </a:avLst>
          </a:prstGeom>
          <a:ln w="12700" cap="flat">
            <a:solidFill>
              <a:schemeClr val="tx1"/>
            </a:solidFill>
            <a:miter lim="800000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Arc 21">
            <a:extLst>
              <a:ext uri="{FF2B5EF4-FFF2-40B4-BE49-F238E27FC236}">
                <a16:creationId xmlns:a16="http://schemas.microsoft.com/office/drawing/2014/main" id="{F3AE8152-0715-4376-ACEF-3C9961886881}"/>
              </a:ext>
            </a:extLst>
          </p:cNvPr>
          <p:cNvSpPr/>
          <p:nvPr/>
        </p:nvSpPr>
        <p:spPr>
          <a:xfrm rot="5400000">
            <a:off x="2967038" y="2666499"/>
            <a:ext cx="2732443" cy="2542427"/>
          </a:xfrm>
          <a:prstGeom prst="arc">
            <a:avLst>
              <a:gd name="adj1" fmla="val 11189150"/>
              <a:gd name="adj2" fmla="val 15796120"/>
            </a:avLst>
          </a:prstGeom>
          <a:ln w="12700" cap="flat">
            <a:solidFill>
              <a:schemeClr val="tx1"/>
            </a:solidFill>
            <a:miter lim="800000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5" name="Rectangle 286">
            <a:extLst>
              <a:ext uri="{FF2B5EF4-FFF2-40B4-BE49-F238E27FC236}">
                <a16:creationId xmlns:a16="http://schemas.microsoft.com/office/drawing/2014/main" id="{F62B9A23-52C2-44A7-A860-2E9089B49C3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197260" y="3366385"/>
            <a:ext cx="2277740" cy="92333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182880" tIns="0" rIns="182880" bIns="0" numCol="1" anchor="ctr" anchorCtr="0" compatLnSpc="1">
            <a:prstTxWarp prst="textNoShape">
              <a:avLst/>
            </a:prstTxWarp>
            <a:sp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6125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algn="ctr" defTabSz="677830"/>
            <a:r>
              <a:rPr lang="en-US" sz="2000" b="1" dirty="0"/>
              <a:t>Random</a:t>
            </a:r>
          </a:p>
          <a:p>
            <a:pPr algn="ctr" defTabSz="677830"/>
            <a:r>
              <a:rPr lang="en-US" sz="2000" b="1" dirty="0">
                <a:solidFill>
                  <a:schemeClr val="accent2">
                    <a:lumMod val="75000"/>
                  </a:schemeClr>
                </a:solidFill>
              </a:rPr>
              <a:t>advanced</a:t>
            </a:r>
            <a:r>
              <a:rPr lang="en-US" sz="2000" b="1" dirty="0"/>
              <a:t> algorithm</a:t>
            </a:r>
          </a:p>
        </p:txBody>
      </p:sp>
      <p:sp>
        <p:nvSpPr>
          <p:cNvPr id="42" name="Oval 41">
            <a:extLst>
              <a:ext uri="{FF2B5EF4-FFF2-40B4-BE49-F238E27FC236}">
                <a16:creationId xmlns:a16="http://schemas.microsoft.com/office/drawing/2014/main" id="{709CA70E-0BFB-4576-B6AC-970DF4C5A397}"/>
              </a:ext>
            </a:extLst>
          </p:cNvPr>
          <p:cNvSpPr>
            <a:spLocks noChangeAspect="1"/>
          </p:cNvSpPr>
          <p:nvPr/>
        </p:nvSpPr>
        <p:spPr>
          <a:xfrm>
            <a:off x="5105274" y="2533779"/>
            <a:ext cx="245147" cy="311236"/>
          </a:xfrm>
          <a:prstGeom prst="ellipse">
            <a:avLst/>
          </a:prstGeom>
          <a:solidFill>
            <a:schemeClr val="accent1"/>
          </a:solidFill>
          <a:ln w="6350" cap="rnd">
            <a:noFill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 dirty="0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43" name="Oval 42">
            <a:extLst>
              <a:ext uri="{FF2B5EF4-FFF2-40B4-BE49-F238E27FC236}">
                <a16:creationId xmlns:a16="http://schemas.microsoft.com/office/drawing/2014/main" id="{9C8E9AB5-0E74-46D6-96FB-A2283C63514A}"/>
              </a:ext>
            </a:extLst>
          </p:cNvPr>
          <p:cNvSpPr>
            <a:spLocks noChangeAspect="1"/>
          </p:cNvSpPr>
          <p:nvPr/>
        </p:nvSpPr>
        <p:spPr>
          <a:xfrm>
            <a:off x="5105274" y="4819031"/>
            <a:ext cx="245147" cy="311236"/>
          </a:xfrm>
          <a:prstGeom prst="ellipse">
            <a:avLst/>
          </a:prstGeom>
          <a:solidFill>
            <a:schemeClr val="accent1"/>
          </a:solidFill>
          <a:ln w="6350" cap="rnd">
            <a:noFill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 dirty="0"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45" name="Oval 44">
            <a:extLst>
              <a:ext uri="{FF2B5EF4-FFF2-40B4-BE49-F238E27FC236}">
                <a16:creationId xmlns:a16="http://schemas.microsoft.com/office/drawing/2014/main" id="{279E6F23-E7CC-4225-BC92-5124DB1E9301}"/>
              </a:ext>
            </a:extLst>
          </p:cNvPr>
          <p:cNvSpPr>
            <a:spLocks noChangeAspect="1"/>
          </p:cNvSpPr>
          <p:nvPr/>
        </p:nvSpPr>
        <p:spPr>
          <a:xfrm>
            <a:off x="3317078" y="2533779"/>
            <a:ext cx="245147" cy="311236"/>
          </a:xfrm>
          <a:prstGeom prst="ellipse">
            <a:avLst/>
          </a:prstGeom>
          <a:solidFill>
            <a:schemeClr val="accent1"/>
          </a:solidFill>
          <a:ln w="6350" cap="rnd">
            <a:noFill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 dirty="0">
                <a:solidFill>
                  <a:schemeClr val="bg1"/>
                </a:solidFill>
              </a:rPr>
              <a:t>4</a:t>
            </a:r>
          </a:p>
        </p:txBody>
      </p:sp>
      <p:sp>
        <p:nvSpPr>
          <p:cNvPr id="46" name="Oval 45">
            <a:extLst>
              <a:ext uri="{FF2B5EF4-FFF2-40B4-BE49-F238E27FC236}">
                <a16:creationId xmlns:a16="http://schemas.microsoft.com/office/drawing/2014/main" id="{6152A6C9-DF5D-4B9B-872F-1C5629F57FDD}"/>
              </a:ext>
            </a:extLst>
          </p:cNvPr>
          <p:cNvSpPr>
            <a:spLocks noChangeAspect="1"/>
          </p:cNvSpPr>
          <p:nvPr/>
        </p:nvSpPr>
        <p:spPr>
          <a:xfrm>
            <a:off x="3317078" y="4819031"/>
            <a:ext cx="245147" cy="311236"/>
          </a:xfrm>
          <a:prstGeom prst="ellipse">
            <a:avLst/>
          </a:prstGeom>
          <a:solidFill>
            <a:schemeClr val="accent1"/>
          </a:solidFill>
          <a:ln w="6350" cap="rnd">
            <a:noFill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 dirty="0">
                <a:solidFill>
                  <a:schemeClr val="bg1"/>
                </a:solidFill>
              </a:rPr>
              <a:t>3</a:t>
            </a:r>
          </a:p>
        </p:txBody>
      </p:sp>
      <p:pic>
        <p:nvPicPr>
          <p:cNvPr id="25" name="CustomIcon">
            <a:extLst>
              <a:ext uri="{FF2B5EF4-FFF2-40B4-BE49-F238E27FC236}">
                <a16:creationId xmlns:a16="http://schemas.microsoft.com/office/drawing/2014/main" id="{C26A6654-519D-430B-A6CE-5E3916E886D3}"/>
              </a:ext>
            </a:extLst>
          </p:cNvPr>
          <p:cNvPicPr>
            <a:picLocks noChangeAspect="1"/>
          </p:cNvPicPr>
          <p:nvPr>
            <p:custDataLst>
              <p:tags r:id="rId8"/>
            </p:custDataLst>
          </p:nvPr>
        </p:nvPicPr>
        <p:blipFill>
          <a:blip r:embed="rId16">
            <a:extLs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8099452" y="2307703"/>
            <a:ext cx="551213" cy="609600"/>
          </a:xfrm>
          <a:prstGeom prst="rect">
            <a:avLst/>
          </a:prstGeom>
        </p:spPr>
      </p:pic>
      <p:pic>
        <p:nvPicPr>
          <p:cNvPr id="30" name="CustomIcon">
            <a:extLst>
              <a:ext uri="{FF2B5EF4-FFF2-40B4-BE49-F238E27FC236}">
                <a16:creationId xmlns:a16="http://schemas.microsoft.com/office/drawing/2014/main" id="{2F98A230-1ADA-4899-A2FA-26EF9949CF5C}"/>
              </a:ext>
            </a:extLst>
          </p:cNvPr>
          <p:cNvPicPr>
            <a:picLocks noChangeAspect="1"/>
          </p:cNvPicPr>
          <p:nvPr>
            <p:custDataLst>
              <p:tags r:id="rId9"/>
            </p:custDataLst>
          </p:nvPr>
        </p:nvPicPr>
        <p:blipFill>
          <a:blip r:embed="rId18">
            <a:extLs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>
            <a:off x="466427" y="2297511"/>
            <a:ext cx="551213" cy="609600"/>
          </a:xfrm>
          <a:prstGeom prst="rect">
            <a:avLst/>
          </a:prstGeom>
        </p:spPr>
      </p:pic>
      <p:pic>
        <p:nvPicPr>
          <p:cNvPr id="32" name="CustomIcon">
            <a:extLst>
              <a:ext uri="{FF2B5EF4-FFF2-40B4-BE49-F238E27FC236}">
                <a16:creationId xmlns:a16="http://schemas.microsoft.com/office/drawing/2014/main" id="{E0F17016-5979-423F-A54B-B4B0D1C3AEEE}"/>
              </a:ext>
            </a:extLst>
          </p:cNvPr>
          <p:cNvPicPr>
            <a:picLocks noChangeAspect="1"/>
          </p:cNvPicPr>
          <p:nvPr>
            <p:custDataLst>
              <p:tags r:id="rId10"/>
            </p:custDataLst>
          </p:nvPr>
        </p:nvPicPr>
        <p:blipFill>
          <a:blip r:embed="rId20">
            <a:extLst>
              <a:ext uri="{96DAC541-7B7A-43D3-8B79-37D633B846F1}">
                <asvg:svgBlip xmlns:asvg="http://schemas.microsoft.com/office/drawing/2016/SVG/main" r:embed="rId21"/>
              </a:ext>
            </a:extLst>
          </a:blip>
          <a:stretch>
            <a:fillRect/>
          </a:stretch>
        </p:blipFill>
        <p:spPr>
          <a:xfrm>
            <a:off x="520969" y="5153482"/>
            <a:ext cx="551213" cy="609600"/>
          </a:xfrm>
          <a:prstGeom prst="rect">
            <a:avLst/>
          </a:prstGeom>
        </p:spPr>
      </p:pic>
      <p:sp>
        <p:nvSpPr>
          <p:cNvPr id="34" name="Arrow: Chevron 33">
            <a:extLst>
              <a:ext uri="{FF2B5EF4-FFF2-40B4-BE49-F238E27FC236}">
                <a16:creationId xmlns:a16="http://schemas.microsoft.com/office/drawing/2014/main" id="{DCF0AFE2-1835-43B0-8B98-D870BE197EA4}"/>
              </a:ext>
            </a:extLst>
          </p:cNvPr>
          <p:cNvSpPr/>
          <p:nvPr/>
        </p:nvSpPr>
        <p:spPr>
          <a:xfrm>
            <a:off x="8693658" y="1554480"/>
            <a:ext cx="484632" cy="484632"/>
          </a:xfrm>
          <a:prstGeom prst="chevron">
            <a:avLst/>
          </a:prstGeom>
          <a:solidFill>
            <a:schemeClr val="accent2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44" name="Arrow: Chevron 43">
            <a:extLst>
              <a:ext uri="{FF2B5EF4-FFF2-40B4-BE49-F238E27FC236}">
                <a16:creationId xmlns:a16="http://schemas.microsoft.com/office/drawing/2014/main" id="{311C0134-3EA8-419D-87C2-A470E6C22F45}"/>
              </a:ext>
            </a:extLst>
          </p:cNvPr>
          <p:cNvSpPr/>
          <p:nvPr/>
        </p:nvSpPr>
        <p:spPr>
          <a:xfrm>
            <a:off x="8686799" y="1638620"/>
            <a:ext cx="343341" cy="343341"/>
          </a:xfrm>
          <a:prstGeom prst="chevron">
            <a:avLst/>
          </a:prstGeom>
          <a:solidFill>
            <a:schemeClr val="accent3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B61B0A76-DB79-43E6-8B69-6E5DF5392E7B}"/>
              </a:ext>
            </a:extLst>
          </p:cNvPr>
          <p:cNvSpPr txBox="1"/>
          <p:nvPr/>
        </p:nvSpPr>
        <p:spPr>
          <a:xfrm>
            <a:off x="565988" y="1395084"/>
            <a:ext cx="2447722" cy="307777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US" sz="2000" b="1" dirty="0">
                <a:cs typeface="+mn-cs"/>
              </a:rPr>
              <a:t>Description</a:t>
            </a:r>
            <a:endParaRPr lang="en-US" dirty="0">
              <a:cs typeface="+mn-cs"/>
            </a:endParaRP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443E8F0F-60D2-4D9E-BE1B-CAC410FB8A47}"/>
              </a:ext>
            </a:extLst>
          </p:cNvPr>
          <p:cNvSpPr txBox="1"/>
          <p:nvPr/>
        </p:nvSpPr>
        <p:spPr>
          <a:xfrm>
            <a:off x="9167230" y="1395084"/>
            <a:ext cx="2447722" cy="307777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US" sz="2000" b="1" dirty="0">
                <a:cs typeface="+mn-cs"/>
              </a:rPr>
              <a:t>Take-aways</a:t>
            </a:r>
            <a:endParaRPr lang="en-US" dirty="0"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759528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2" hidden="1">
            <a:extLst>
              <a:ext uri="{FF2B5EF4-FFF2-40B4-BE49-F238E27FC236}">
                <a16:creationId xmlns:a16="http://schemas.microsoft.com/office/drawing/2014/main" id="{F335BC2E-68E6-43FC-ACED-AE46FEFCA151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9126" name="think-cell Slide" r:id="rId21" imgW="592" imgH="591" progId="TCLayout.ActiveDocument.1">
                  <p:embed/>
                </p:oleObj>
              </mc:Choice>
              <mc:Fallback>
                <p:oleObj name="think-cell Slide" r:id="rId21" imgW="592" imgH="591" progId="TCLayout.ActiveDocument.1">
                  <p:embed/>
                  <p:pic>
                    <p:nvPicPr>
                      <p:cNvPr id="6" name="Object 2" hidden="1">
                        <a:extLst>
                          <a:ext uri="{FF2B5EF4-FFF2-40B4-BE49-F238E27FC236}">
                            <a16:creationId xmlns:a16="http://schemas.microsoft.com/office/drawing/2014/main" id="{F335BC2E-68E6-43FC-ACED-AE46FEFCA1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" hidden="1">
            <a:extLst>
              <a:ext uri="{FF2B5EF4-FFF2-40B4-BE49-F238E27FC236}">
                <a16:creationId xmlns:a16="http://schemas.microsoft.com/office/drawing/2014/main" id="{AD4AD15D-56CF-4D77-8F3A-A842E4773D48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2500" b="1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69" name="TextBox 168">
            <a:extLst>
              <a:ext uri="{FF2B5EF4-FFF2-40B4-BE49-F238E27FC236}">
                <a16:creationId xmlns:a16="http://schemas.microsoft.com/office/drawing/2014/main" id="{90960F38-886A-4B67-A89F-0B6E28C1BCBA}"/>
              </a:ext>
            </a:extLst>
          </p:cNvPr>
          <p:cNvSpPr txBox="1"/>
          <p:nvPr/>
        </p:nvSpPr>
        <p:spPr>
          <a:xfrm>
            <a:off x="6610373" y="2039846"/>
            <a:ext cx="478780" cy="169277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100" b="1" dirty="0"/>
              <a:t>0</a:t>
            </a:r>
            <a:r>
              <a:rPr lang="en-US" sz="1100" dirty="0"/>
              <a:t>: A-1</a:t>
            </a:r>
          </a:p>
        </p:txBody>
      </p:sp>
      <p:sp>
        <p:nvSpPr>
          <p:cNvPr id="170" name="TextBox 169">
            <a:extLst>
              <a:ext uri="{FF2B5EF4-FFF2-40B4-BE49-F238E27FC236}">
                <a16:creationId xmlns:a16="http://schemas.microsoft.com/office/drawing/2014/main" id="{F3B34520-13F1-433B-B2B6-0FF5427F518D}"/>
              </a:ext>
            </a:extLst>
          </p:cNvPr>
          <p:cNvSpPr txBox="1"/>
          <p:nvPr/>
        </p:nvSpPr>
        <p:spPr>
          <a:xfrm>
            <a:off x="6607595" y="2572021"/>
            <a:ext cx="478780" cy="169277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100" b="1" dirty="0"/>
              <a:t>1</a:t>
            </a:r>
            <a:r>
              <a:rPr lang="en-US" sz="1100" dirty="0"/>
              <a:t>: B-1</a:t>
            </a:r>
          </a:p>
        </p:txBody>
      </p:sp>
      <p:sp>
        <p:nvSpPr>
          <p:cNvPr id="175" name="TextBox 174">
            <a:extLst>
              <a:ext uri="{FF2B5EF4-FFF2-40B4-BE49-F238E27FC236}">
                <a16:creationId xmlns:a16="http://schemas.microsoft.com/office/drawing/2014/main" id="{D4DB988C-D38C-46BA-AE97-DBD554C84230}"/>
              </a:ext>
            </a:extLst>
          </p:cNvPr>
          <p:cNvSpPr txBox="1"/>
          <p:nvPr/>
        </p:nvSpPr>
        <p:spPr>
          <a:xfrm>
            <a:off x="6486429" y="5085007"/>
            <a:ext cx="478780" cy="169277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100" b="1" dirty="0"/>
              <a:t>0</a:t>
            </a:r>
            <a:r>
              <a:rPr lang="en-US" sz="1100" dirty="0"/>
              <a:t>: B-1</a:t>
            </a:r>
          </a:p>
        </p:txBody>
      </p:sp>
      <p:sp>
        <p:nvSpPr>
          <p:cNvPr id="180" name="TextBox 179">
            <a:extLst>
              <a:ext uri="{FF2B5EF4-FFF2-40B4-BE49-F238E27FC236}">
                <a16:creationId xmlns:a16="http://schemas.microsoft.com/office/drawing/2014/main" id="{79BF6507-9DCA-4F17-BFFA-99762B4E19DE}"/>
              </a:ext>
            </a:extLst>
          </p:cNvPr>
          <p:cNvSpPr txBox="1"/>
          <p:nvPr/>
        </p:nvSpPr>
        <p:spPr>
          <a:xfrm>
            <a:off x="6486429" y="5662693"/>
            <a:ext cx="478780" cy="169277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100" dirty="0"/>
              <a:t>1: A-1</a:t>
            </a:r>
          </a:p>
        </p:txBody>
      </p:sp>
      <p:sp>
        <p:nvSpPr>
          <p:cNvPr id="461846" name="2. Slide Title"/>
          <p:cNvSpPr>
            <a:spLocks noGrp="1" noChangeArrowheads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321067"/>
            <a:ext cx="11082528" cy="731520"/>
          </a:xfrm>
        </p:spPr>
        <p:txBody>
          <a:bodyPr/>
          <a:lstStyle/>
          <a:p>
            <a:r>
              <a:rPr lang="en-US" dirty="0"/>
              <a:t>Breadth-first &amp; depth-first</a:t>
            </a:r>
          </a:p>
        </p:txBody>
      </p:sp>
      <p:sp>
        <p:nvSpPr>
          <p:cNvPr id="79" name="Graphic 14">
            <a:extLst>
              <a:ext uri="{FF2B5EF4-FFF2-40B4-BE49-F238E27FC236}">
                <a16:creationId xmlns:a16="http://schemas.microsoft.com/office/drawing/2014/main" id="{6A3D48FB-1411-483E-B881-0774FFDDD439}"/>
              </a:ext>
            </a:extLst>
          </p:cNvPr>
          <p:cNvSpPr>
            <a:spLocks noChangeAspect="1"/>
          </p:cNvSpPr>
          <p:nvPr/>
        </p:nvSpPr>
        <p:spPr>
          <a:xfrm>
            <a:off x="6943214" y="1857151"/>
            <a:ext cx="1363483" cy="1051528"/>
          </a:xfrm>
          <a:custGeom>
            <a:avLst/>
            <a:gdLst>
              <a:gd name="connsiteX0" fmla="*/ 8885715 w 8882670"/>
              <a:gd name="connsiteY0" fmla="*/ 6854879 h 6850388"/>
              <a:gd name="connsiteX1" fmla="*/ 1796172 w 8882670"/>
              <a:gd name="connsiteY1" fmla="*/ 6854879 h 6850388"/>
              <a:gd name="connsiteX2" fmla="*/ 0 w 8882670"/>
              <a:gd name="connsiteY2" fmla="*/ 3427478 h 6850388"/>
              <a:gd name="connsiteX3" fmla="*/ 1796172 w 8882670"/>
              <a:gd name="connsiteY3" fmla="*/ 0 h 6850388"/>
              <a:gd name="connsiteX4" fmla="*/ 8885715 w 8882670"/>
              <a:gd name="connsiteY4" fmla="*/ 0 h 68503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882670" h="6850388">
                <a:moveTo>
                  <a:pt x="8885715" y="6854879"/>
                </a:moveTo>
                <a:lnTo>
                  <a:pt x="1796172" y="6854879"/>
                </a:lnTo>
                <a:lnTo>
                  <a:pt x="0" y="3427478"/>
                </a:lnTo>
                <a:lnTo>
                  <a:pt x="1796172" y="0"/>
                </a:lnTo>
                <a:lnTo>
                  <a:pt x="8885715" y="0"/>
                </a:lnTo>
              </a:path>
            </a:pathLst>
          </a:custGeom>
          <a:noFill/>
          <a:ln w="6350" cap="sq">
            <a:solidFill>
              <a:srgbClr val="7F7F7F"/>
            </a:solidFill>
            <a:prstDash val="solid"/>
            <a:miter/>
          </a:ln>
        </p:spPr>
        <p:txBody>
          <a:bodyPr rtlCol="0" anchor="ctr"/>
          <a:lstStyle/>
          <a:p>
            <a:endParaRPr lang="en-US" sz="1100"/>
          </a:p>
        </p:txBody>
      </p:sp>
      <p:sp>
        <p:nvSpPr>
          <p:cNvPr id="80" name="Graphic 14">
            <a:extLst>
              <a:ext uri="{FF2B5EF4-FFF2-40B4-BE49-F238E27FC236}">
                <a16:creationId xmlns:a16="http://schemas.microsoft.com/office/drawing/2014/main" id="{D30368B3-1111-4CF6-BAA8-D31A4911ABC7}"/>
              </a:ext>
            </a:extLst>
          </p:cNvPr>
          <p:cNvSpPr>
            <a:spLocks noChangeAspect="1"/>
          </p:cNvSpPr>
          <p:nvPr/>
        </p:nvSpPr>
        <p:spPr>
          <a:xfrm>
            <a:off x="6943214" y="4947239"/>
            <a:ext cx="1363483" cy="1051528"/>
          </a:xfrm>
          <a:custGeom>
            <a:avLst/>
            <a:gdLst>
              <a:gd name="connsiteX0" fmla="*/ 8885715 w 8882670"/>
              <a:gd name="connsiteY0" fmla="*/ 6854879 h 6850388"/>
              <a:gd name="connsiteX1" fmla="*/ 1796172 w 8882670"/>
              <a:gd name="connsiteY1" fmla="*/ 6854879 h 6850388"/>
              <a:gd name="connsiteX2" fmla="*/ 0 w 8882670"/>
              <a:gd name="connsiteY2" fmla="*/ 3427478 h 6850388"/>
              <a:gd name="connsiteX3" fmla="*/ 1796172 w 8882670"/>
              <a:gd name="connsiteY3" fmla="*/ 0 h 6850388"/>
              <a:gd name="connsiteX4" fmla="*/ 8885715 w 8882670"/>
              <a:gd name="connsiteY4" fmla="*/ 0 h 68503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882670" h="6850388">
                <a:moveTo>
                  <a:pt x="8885715" y="6854879"/>
                </a:moveTo>
                <a:lnTo>
                  <a:pt x="1796172" y="6854879"/>
                </a:lnTo>
                <a:lnTo>
                  <a:pt x="0" y="3427478"/>
                </a:lnTo>
                <a:lnTo>
                  <a:pt x="1796172" y="0"/>
                </a:lnTo>
                <a:lnTo>
                  <a:pt x="8885715" y="0"/>
                </a:lnTo>
              </a:path>
            </a:pathLst>
          </a:custGeom>
          <a:noFill/>
          <a:ln w="6350" cap="sq">
            <a:solidFill>
              <a:srgbClr val="7F7F7F"/>
            </a:solidFill>
            <a:prstDash val="solid"/>
            <a:miter/>
          </a:ln>
        </p:spPr>
        <p:txBody>
          <a:bodyPr rtlCol="0" anchor="ctr"/>
          <a:lstStyle/>
          <a:p>
            <a:endParaRPr lang="en-US" sz="1100"/>
          </a:p>
        </p:txBody>
      </p:sp>
      <p:cxnSp>
        <p:nvCxnSpPr>
          <p:cNvPr id="81" name="Straight Connector 80">
            <a:extLst>
              <a:ext uri="{FF2B5EF4-FFF2-40B4-BE49-F238E27FC236}">
                <a16:creationId xmlns:a16="http://schemas.microsoft.com/office/drawing/2014/main" id="{43EA973B-4931-4A42-9472-EB0AD77F4722}"/>
              </a:ext>
            </a:extLst>
          </p:cNvPr>
          <p:cNvCxnSpPr>
            <a:cxnSpLocks/>
          </p:cNvCxnSpPr>
          <p:nvPr/>
        </p:nvCxnSpPr>
        <p:spPr>
          <a:xfrm>
            <a:off x="3859094" y="3927419"/>
            <a:ext cx="654129" cy="0"/>
          </a:xfrm>
          <a:prstGeom prst="line">
            <a:avLst/>
          </a:prstGeom>
          <a:ln w="6350" cap="sq">
            <a:solidFill>
              <a:srgbClr val="7F7F7F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2" name="Graphic 14">
            <a:extLst>
              <a:ext uri="{FF2B5EF4-FFF2-40B4-BE49-F238E27FC236}">
                <a16:creationId xmlns:a16="http://schemas.microsoft.com/office/drawing/2014/main" id="{9ACE0CC1-B2D2-4FC8-8047-8977D20AD610}"/>
              </a:ext>
            </a:extLst>
          </p:cNvPr>
          <p:cNvSpPr>
            <a:spLocks noChangeAspect="1"/>
          </p:cNvSpPr>
          <p:nvPr/>
        </p:nvSpPr>
        <p:spPr>
          <a:xfrm>
            <a:off x="8311107" y="2384903"/>
            <a:ext cx="1363483" cy="1051528"/>
          </a:xfrm>
          <a:custGeom>
            <a:avLst/>
            <a:gdLst>
              <a:gd name="connsiteX0" fmla="*/ 8885715 w 8882670"/>
              <a:gd name="connsiteY0" fmla="*/ 6854879 h 6850388"/>
              <a:gd name="connsiteX1" fmla="*/ 1796172 w 8882670"/>
              <a:gd name="connsiteY1" fmla="*/ 6854879 h 6850388"/>
              <a:gd name="connsiteX2" fmla="*/ 0 w 8882670"/>
              <a:gd name="connsiteY2" fmla="*/ 3427478 h 6850388"/>
              <a:gd name="connsiteX3" fmla="*/ 1796172 w 8882670"/>
              <a:gd name="connsiteY3" fmla="*/ 0 h 6850388"/>
              <a:gd name="connsiteX4" fmla="*/ 8885715 w 8882670"/>
              <a:gd name="connsiteY4" fmla="*/ 0 h 68503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882670" h="6850388">
                <a:moveTo>
                  <a:pt x="8885715" y="6854879"/>
                </a:moveTo>
                <a:lnTo>
                  <a:pt x="1796172" y="6854879"/>
                </a:lnTo>
                <a:lnTo>
                  <a:pt x="0" y="3427478"/>
                </a:lnTo>
                <a:lnTo>
                  <a:pt x="1796172" y="0"/>
                </a:lnTo>
                <a:lnTo>
                  <a:pt x="8885715" y="0"/>
                </a:lnTo>
              </a:path>
            </a:pathLst>
          </a:custGeom>
          <a:noFill/>
          <a:ln w="6350" cap="sq">
            <a:solidFill>
              <a:srgbClr val="7F7F7F"/>
            </a:solidFill>
            <a:prstDash val="solid"/>
            <a:miter/>
          </a:ln>
        </p:spPr>
        <p:txBody>
          <a:bodyPr rtlCol="0" anchor="ctr"/>
          <a:lstStyle/>
          <a:p>
            <a:endParaRPr lang="en-US" sz="1100"/>
          </a:p>
        </p:txBody>
      </p:sp>
      <p:sp>
        <p:nvSpPr>
          <p:cNvPr id="83" name="Graphic 14">
            <a:extLst>
              <a:ext uri="{FF2B5EF4-FFF2-40B4-BE49-F238E27FC236}">
                <a16:creationId xmlns:a16="http://schemas.microsoft.com/office/drawing/2014/main" id="{55371AB9-83B8-43D4-B06C-0E3F4640EFD1}"/>
              </a:ext>
            </a:extLst>
          </p:cNvPr>
          <p:cNvSpPr>
            <a:spLocks noChangeAspect="1"/>
          </p:cNvSpPr>
          <p:nvPr/>
        </p:nvSpPr>
        <p:spPr>
          <a:xfrm>
            <a:off x="8311107" y="4421615"/>
            <a:ext cx="1363483" cy="1051528"/>
          </a:xfrm>
          <a:custGeom>
            <a:avLst/>
            <a:gdLst>
              <a:gd name="connsiteX0" fmla="*/ 8885715 w 8882670"/>
              <a:gd name="connsiteY0" fmla="*/ 6854879 h 6850388"/>
              <a:gd name="connsiteX1" fmla="*/ 1796172 w 8882670"/>
              <a:gd name="connsiteY1" fmla="*/ 6854879 h 6850388"/>
              <a:gd name="connsiteX2" fmla="*/ 0 w 8882670"/>
              <a:gd name="connsiteY2" fmla="*/ 3427478 h 6850388"/>
              <a:gd name="connsiteX3" fmla="*/ 1796172 w 8882670"/>
              <a:gd name="connsiteY3" fmla="*/ 0 h 6850388"/>
              <a:gd name="connsiteX4" fmla="*/ 8885715 w 8882670"/>
              <a:gd name="connsiteY4" fmla="*/ 0 h 68503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882670" h="6850388">
                <a:moveTo>
                  <a:pt x="8885715" y="6854879"/>
                </a:moveTo>
                <a:lnTo>
                  <a:pt x="1796172" y="6854879"/>
                </a:lnTo>
                <a:lnTo>
                  <a:pt x="0" y="3427478"/>
                </a:lnTo>
                <a:lnTo>
                  <a:pt x="1796172" y="0"/>
                </a:lnTo>
                <a:lnTo>
                  <a:pt x="8885715" y="0"/>
                </a:lnTo>
              </a:path>
            </a:pathLst>
          </a:custGeom>
          <a:noFill/>
          <a:ln w="6350" cap="sq">
            <a:solidFill>
              <a:srgbClr val="7F7F7F"/>
            </a:solidFill>
            <a:prstDash val="solid"/>
            <a:miter/>
          </a:ln>
        </p:spPr>
        <p:txBody>
          <a:bodyPr rtlCol="0" anchor="ctr"/>
          <a:lstStyle/>
          <a:p>
            <a:endParaRPr lang="en-US" sz="1100"/>
          </a:p>
        </p:txBody>
      </p:sp>
      <p:sp>
        <p:nvSpPr>
          <p:cNvPr id="85" name="Freeform: Shape 84">
            <a:extLst>
              <a:ext uri="{FF2B5EF4-FFF2-40B4-BE49-F238E27FC236}">
                <a16:creationId xmlns:a16="http://schemas.microsoft.com/office/drawing/2014/main" id="{6F908A09-17D8-4167-8E8D-EF05FC87E79B}"/>
              </a:ext>
            </a:extLst>
          </p:cNvPr>
          <p:cNvSpPr>
            <a:spLocks noChangeAspect="1"/>
          </p:cNvSpPr>
          <p:nvPr/>
        </p:nvSpPr>
        <p:spPr>
          <a:xfrm>
            <a:off x="4511618" y="2382083"/>
            <a:ext cx="2423523" cy="3090672"/>
          </a:xfrm>
          <a:custGeom>
            <a:avLst/>
            <a:gdLst>
              <a:gd name="connsiteX0" fmla="*/ 2404789 w 2403000"/>
              <a:gd name="connsiteY0" fmla="*/ 3064939 h 3064500"/>
              <a:gd name="connsiteX1" fmla="*/ 801056 w 2403000"/>
              <a:gd name="connsiteY1" fmla="*/ 3064939 h 3064500"/>
              <a:gd name="connsiteX2" fmla="*/ 0 w 2403000"/>
              <a:gd name="connsiteY2" fmla="*/ 1532486 h 3064500"/>
              <a:gd name="connsiteX3" fmla="*/ 801056 w 2403000"/>
              <a:gd name="connsiteY3" fmla="*/ 0 h 3064500"/>
              <a:gd name="connsiteX4" fmla="*/ 2404789 w 2403000"/>
              <a:gd name="connsiteY4" fmla="*/ 0 h 3064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403000" h="3064500">
                <a:moveTo>
                  <a:pt x="2404789" y="3064939"/>
                </a:moveTo>
                <a:lnTo>
                  <a:pt x="801056" y="3064939"/>
                </a:lnTo>
                <a:lnTo>
                  <a:pt x="0" y="1532486"/>
                </a:lnTo>
                <a:lnTo>
                  <a:pt x="801056" y="0"/>
                </a:lnTo>
                <a:lnTo>
                  <a:pt x="2404789" y="0"/>
                </a:lnTo>
              </a:path>
            </a:pathLst>
          </a:custGeom>
          <a:noFill/>
          <a:ln w="6350" cap="sq">
            <a:solidFill>
              <a:srgbClr val="7F7F7F"/>
            </a:solidFill>
            <a:prstDash val="solid"/>
            <a:miter/>
          </a:ln>
        </p:spPr>
        <p:txBody>
          <a:bodyPr rtlCol="0" anchor="ctr"/>
          <a:lstStyle/>
          <a:p>
            <a:endParaRPr lang="en-US" sz="1100"/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739F5691-9DC8-48FA-936B-C6D13BDC779E}"/>
              </a:ext>
            </a:extLst>
          </p:cNvPr>
          <p:cNvSpPr txBox="1"/>
          <p:nvPr/>
        </p:nvSpPr>
        <p:spPr>
          <a:xfrm>
            <a:off x="554735" y="2574275"/>
            <a:ext cx="2514600" cy="2169825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3175" lvl="1" indent="0">
              <a:buNone/>
            </a:pPr>
            <a:r>
              <a:rPr lang="en-US" sz="1100" b="1" dirty="0"/>
              <a:t>Algorithm</a:t>
            </a:r>
          </a:p>
          <a:p>
            <a:pPr marL="231775" lvl="1" indent="-228600">
              <a:buFont typeface="+mj-lt"/>
              <a:buAutoNum type="arabicPeriod"/>
            </a:pPr>
            <a:r>
              <a:rPr lang="en-US" sz="1100" dirty="0"/>
              <a:t>Take the node highest up the tree</a:t>
            </a:r>
          </a:p>
          <a:p>
            <a:pPr marL="231775" lvl="1" indent="-228600">
              <a:buFont typeface="+mj-lt"/>
              <a:buAutoNum type="arabicPeriod"/>
            </a:pPr>
            <a:r>
              <a:rPr lang="en-US" sz="1100" dirty="0"/>
              <a:t>Identify all possible moves</a:t>
            </a:r>
          </a:p>
          <a:p>
            <a:pPr marL="231775" lvl="1" indent="-228600">
              <a:buFont typeface="+mj-lt"/>
              <a:buAutoNum type="arabicPeriod"/>
            </a:pPr>
            <a:r>
              <a:rPr lang="en-US" sz="1100" dirty="0"/>
              <a:t>Create the corresponding nodes</a:t>
            </a:r>
          </a:p>
          <a:p>
            <a:pPr marL="231775" lvl="1" indent="-228600">
              <a:buFont typeface="+mj-lt"/>
              <a:buAutoNum type="arabicPeriod"/>
            </a:pPr>
            <a:r>
              <a:rPr lang="en-US" sz="1100" dirty="0"/>
              <a:t>Compare the new nodes with nodes earlier up the tree</a:t>
            </a:r>
          </a:p>
          <a:p>
            <a:pPr marL="231775" lvl="1" indent="-228600">
              <a:buFont typeface="+mj-lt"/>
              <a:buAutoNum type="arabicPeriod"/>
            </a:pPr>
            <a:r>
              <a:rPr lang="en-US" sz="1100" dirty="0"/>
              <a:t>Check if the game is won</a:t>
            </a:r>
          </a:p>
          <a:p>
            <a:pPr marL="231775" lvl="1" indent="-228600">
              <a:buFont typeface="+mj-lt"/>
              <a:buAutoNum type="arabicPeriod"/>
            </a:pPr>
            <a:r>
              <a:rPr lang="en-US" sz="1100" dirty="0"/>
              <a:t>Shut of nodes that represent a board state that was achieved before</a:t>
            </a:r>
          </a:p>
          <a:p>
            <a:pPr marL="231775" lvl="1" indent="-228600">
              <a:buFont typeface="+mj-lt"/>
              <a:buAutoNum type="arabicPeriod"/>
            </a:pPr>
            <a:r>
              <a:rPr lang="en-US" sz="1100" dirty="0"/>
              <a:t>Repeat</a:t>
            </a:r>
          </a:p>
          <a:p>
            <a:pPr lvl="1"/>
            <a:endParaRPr lang="en-US" sz="1100" dirty="0"/>
          </a:p>
        </p:txBody>
      </p:sp>
      <p:sp>
        <p:nvSpPr>
          <p:cNvPr id="97" name="TrackerNumBlue 7">
            <a:extLst>
              <a:ext uri="{FF2B5EF4-FFF2-40B4-BE49-F238E27FC236}">
                <a16:creationId xmlns:a16="http://schemas.microsoft.com/office/drawing/2014/main" id="{93BEFD07-4176-4B60-8805-0A14AF08EDCF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3719424" y="3787749"/>
            <a:ext cx="279340" cy="279340"/>
          </a:xfrm>
          <a:prstGeom prst="ellipse">
            <a:avLst/>
          </a:prstGeom>
          <a:solidFill>
            <a:schemeClr val="accent1"/>
          </a:solidFill>
          <a:ln w="6350" cap="sq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6350" cap="sq" cmpd="sng" algn="ctr">
                <a:solidFill>
                  <a:schemeClr val="accent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US" sz="1100" dirty="0">
                <a:solidFill>
                  <a:schemeClr val="bg1"/>
                </a:solidFill>
              </a:rPr>
              <a:t>0</a:t>
            </a:r>
          </a:p>
        </p:txBody>
      </p:sp>
      <p:cxnSp>
        <p:nvCxnSpPr>
          <p:cNvPr id="98" name="Straight Arrow Connector 97">
            <a:extLst>
              <a:ext uri="{FF2B5EF4-FFF2-40B4-BE49-F238E27FC236}">
                <a16:creationId xmlns:a16="http://schemas.microsoft.com/office/drawing/2014/main" id="{A4087EBB-B7BC-46EE-B624-EE77D9826B99}"/>
              </a:ext>
            </a:extLst>
          </p:cNvPr>
          <p:cNvCxnSpPr/>
          <p:nvPr/>
        </p:nvCxnSpPr>
        <p:spPr>
          <a:xfrm>
            <a:off x="3459480" y="1931386"/>
            <a:ext cx="0" cy="4206523"/>
          </a:xfrm>
          <a:prstGeom prst="straightConnector1">
            <a:avLst/>
          </a:prstGeom>
          <a:ln w="19050" cap="sq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9" name="LineBasicDefault 16">
            <a:extLst>
              <a:ext uri="{FF2B5EF4-FFF2-40B4-BE49-F238E27FC236}">
                <a16:creationId xmlns:a16="http://schemas.microsoft.com/office/drawing/2014/main" id="{5B567202-AEB6-436A-B3CF-15734F72DD8D}"/>
              </a:ext>
            </a:extLst>
          </p:cNvPr>
          <p:cNvCxnSpPr>
            <a:cxnSpLocks/>
          </p:cNvCxnSpPr>
          <p:nvPr>
            <p:custDataLst>
              <p:tags r:id="rId7"/>
            </p:custDataLst>
          </p:nvPr>
        </p:nvCxnSpPr>
        <p:spPr>
          <a:xfrm>
            <a:off x="565988" y="1600200"/>
            <a:ext cx="2503347" cy="0"/>
          </a:xfrm>
          <a:prstGeom prst="straightConnector1">
            <a:avLst/>
          </a:prstGeom>
          <a:ln w="6350" cap="sq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0" name="LineBasicDefault 16">
            <a:extLst>
              <a:ext uri="{FF2B5EF4-FFF2-40B4-BE49-F238E27FC236}">
                <a16:creationId xmlns:a16="http://schemas.microsoft.com/office/drawing/2014/main" id="{160F70C4-612A-4952-97DA-9AC207258779}"/>
              </a:ext>
            </a:extLst>
          </p:cNvPr>
          <p:cNvCxnSpPr>
            <a:cxnSpLocks/>
          </p:cNvCxnSpPr>
          <p:nvPr>
            <p:custDataLst>
              <p:tags r:id="rId8"/>
            </p:custDataLst>
          </p:nvPr>
        </p:nvCxnSpPr>
        <p:spPr>
          <a:xfrm>
            <a:off x="3943350" y="1600200"/>
            <a:ext cx="7693914" cy="0"/>
          </a:xfrm>
          <a:prstGeom prst="straightConnector1">
            <a:avLst/>
          </a:prstGeom>
          <a:ln w="6350" cap="sq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1" name="Arrow: Chevron 100">
            <a:extLst>
              <a:ext uri="{FF2B5EF4-FFF2-40B4-BE49-F238E27FC236}">
                <a16:creationId xmlns:a16="http://schemas.microsoft.com/office/drawing/2014/main" id="{F280A2FA-95A3-4711-8099-D0003F883C28}"/>
              </a:ext>
            </a:extLst>
          </p:cNvPr>
          <p:cNvSpPr/>
          <p:nvPr/>
        </p:nvSpPr>
        <p:spPr>
          <a:xfrm>
            <a:off x="3275838" y="1303020"/>
            <a:ext cx="484632" cy="484632"/>
          </a:xfrm>
          <a:prstGeom prst="chevron">
            <a:avLst/>
          </a:prstGeom>
          <a:solidFill>
            <a:schemeClr val="accent2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100" dirty="0" err="1">
              <a:solidFill>
                <a:schemeClr val="bg1"/>
              </a:solidFill>
            </a:endParaRPr>
          </a:p>
        </p:txBody>
      </p:sp>
      <p:sp>
        <p:nvSpPr>
          <p:cNvPr id="103" name="TextBox 102">
            <a:extLst>
              <a:ext uri="{FF2B5EF4-FFF2-40B4-BE49-F238E27FC236}">
                <a16:creationId xmlns:a16="http://schemas.microsoft.com/office/drawing/2014/main" id="{81540D10-C1C1-46AB-B756-4FE262499328}"/>
              </a:ext>
            </a:extLst>
          </p:cNvPr>
          <p:cNvSpPr txBox="1"/>
          <p:nvPr/>
        </p:nvSpPr>
        <p:spPr>
          <a:xfrm>
            <a:off x="3943350" y="1396424"/>
            <a:ext cx="2447722" cy="169277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US" sz="1100" b="1" dirty="0">
                <a:cs typeface="+mn-cs"/>
              </a:rPr>
              <a:t>Visualization</a:t>
            </a:r>
            <a:endParaRPr lang="en-US" sz="1100" dirty="0">
              <a:cs typeface="+mn-cs"/>
            </a:endParaRPr>
          </a:p>
        </p:txBody>
      </p:sp>
      <p:sp>
        <p:nvSpPr>
          <p:cNvPr id="107" name="Arrow: Chevron 106">
            <a:extLst>
              <a:ext uri="{FF2B5EF4-FFF2-40B4-BE49-F238E27FC236}">
                <a16:creationId xmlns:a16="http://schemas.microsoft.com/office/drawing/2014/main" id="{7840F745-A24A-4049-B3C6-12D4A7DA8119}"/>
              </a:ext>
            </a:extLst>
          </p:cNvPr>
          <p:cNvSpPr/>
          <p:nvPr/>
        </p:nvSpPr>
        <p:spPr>
          <a:xfrm>
            <a:off x="3270988" y="1387160"/>
            <a:ext cx="343341" cy="343341"/>
          </a:xfrm>
          <a:prstGeom prst="chevron">
            <a:avLst/>
          </a:prstGeom>
          <a:solidFill>
            <a:schemeClr val="accent3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100" dirty="0" err="1">
              <a:solidFill>
                <a:schemeClr val="bg1"/>
              </a:solidFill>
            </a:endParaRPr>
          </a:p>
        </p:txBody>
      </p:sp>
      <p:sp>
        <p:nvSpPr>
          <p:cNvPr id="108" name="TrackerNumBlue 7">
            <a:extLst>
              <a:ext uri="{FF2B5EF4-FFF2-40B4-BE49-F238E27FC236}">
                <a16:creationId xmlns:a16="http://schemas.microsoft.com/office/drawing/2014/main" id="{D29B6976-668B-4BC4-9151-2663492394EA}"/>
              </a:ext>
            </a:extLst>
          </p:cNvPr>
          <p:cNvSpPr/>
          <p:nvPr>
            <p:custDataLst>
              <p:tags r:id="rId9"/>
            </p:custDataLst>
          </p:nvPr>
        </p:nvSpPr>
        <p:spPr>
          <a:xfrm>
            <a:off x="5167211" y="5303744"/>
            <a:ext cx="279340" cy="279340"/>
          </a:xfrm>
          <a:prstGeom prst="ellipse">
            <a:avLst/>
          </a:prstGeom>
          <a:solidFill>
            <a:schemeClr val="accent1"/>
          </a:solidFill>
          <a:ln w="6350" cap="sq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6350" cap="sq" cmpd="sng" algn="ctr">
                <a:solidFill>
                  <a:schemeClr val="accent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US" sz="1100" dirty="0">
                <a:solidFill>
                  <a:schemeClr val="bg1"/>
                </a:solidFill>
              </a:rPr>
              <a:t>0.2</a:t>
            </a:r>
          </a:p>
        </p:txBody>
      </p:sp>
      <p:sp>
        <p:nvSpPr>
          <p:cNvPr id="113" name="TrackerNumBlue 7">
            <a:extLst>
              <a:ext uri="{FF2B5EF4-FFF2-40B4-BE49-F238E27FC236}">
                <a16:creationId xmlns:a16="http://schemas.microsoft.com/office/drawing/2014/main" id="{F235AF7F-78F1-41F2-8692-B1A20B169271}"/>
              </a:ext>
            </a:extLst>
          </p:cNvPr>
          <p:cNvSpPr/>
          <p:nvPr>
            <p:custDataLst>
              <p:tags r:id="rId10"/>
            </p:custDataLst>
          </p:nvPr>
        </p:nvSpPr>
        <p:spPr>
          <a:xfrm>
            <a:off x="5167211" y="2240465"/>
            <a:ext cx="279340" cy="279340"/>
          </a:xfrm>
          <a:prstGeom prst="ellipse">
            <a:avLst/>
          </a:prstGeom>
          <a:solidFill>
            <a:schemeClr val="accent1"/>
          </a:solidFill>
          <a:ln w="6350" cap="sq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6350" cap="sq" cmpd="sng" algn="ctr">
                <a:solidFill>
                  <a:schemeClr val="accent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US" sz="1100" dirty="0">
                <a:solidFill>
                  <a:schemeClr val="bg1"/>
                </a:solidFill>
              </a:rPr>
              <a:t>0.0</a:t>
            </a:r>
          </a:p>
        </p:txBody>
      </p:sp>
      <p:sp>
        <p:nvSpPr>
          <p:cNvPr id="114" name="TextBox 113">
            <a:extLst>
              <a:ext uri="{FF2B5EF4-FFF2-40B4-BE49-F238E27FC236}">
                <a16:creationId xmlns:a16="http://schemas.microsoft.com/office/drawing/2014/main" id="{3D5EF64F-9703-412E-9973-4195F2950030}"/>
              </a:ext>
            </a:extLst>
          </p:cNvPr>
          <p:cNvSpPr txBox="1"/>
          <p:nvPr/>
        </p:nvSpPr>
        <p:spPr>
          <a:xfrm>
            <a:off x="4587810" y="2824040"/>
            <a:ext cx="478780" cy="169277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100" b="1" dirty="0"/>
              <a:t>0</a:t>
            </a:r>
            <a:r>
              <a:rPr lang="en-US" sz="1100" dirty="0"/>
              <a:t>: A-1</a:t>
            </a:r>
          </a:p>
        </p:txBody>
      </p:sp>
      <p:sp>
        <p:nvSpPr>
          <p:cNvPr id="116" name="TextBox 115">
            <a:extLst>
              <a:ext uri="{FF2B5EF4-FFF2-40B4-BE49-F238E27FC236}">
                <a16:creationId xmlns:a16="http://schemas.microsoft.com/office/drawing/2014/main" id="{690D6A21-22A3-402D-B3DB-88E00726C7C2}"/>
              </a:ext>
            </a:extLst>
          </p:cNvPr>
          <p:cNvSpPr txBox="1"/>
          <p:nvPr/>
        </p:nvSpPr>
        <p:spPr>
          <a:xfrm>
            <a:off x="554735" y="1690128"/>
            <a:ext cx="2514600" cy="1000274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3175" lvl="1" indent="0">
              <a:buNone/>
            </a:pPr>
            <a:r>
              <a:rPr lang="en-US" sz="1100" b="1" dirty="0"/>
              <a:t>Description</a:t>
            </a:r>
          </a:p>
          <a:p>
            <a:pPr lvl="1"/>
            <a:r>
              <a:rPr lang="en-US" sz="1100" b="1" dirty="0"/>
              <a:t>Nodes </a:t>
            </a:r>
            <a:r>
              <a:rPr lang="en-US" sz="1100" dirty="0"/>
              <a:t>represent board states</a:t>
            </a:r>
          </a:p>
          <a:p>
            <a:pPr lvl="1"/>
            <a:r>
              <a:rPr lang="en-US" sz="1100" b="1" dirty="0"/>
              <a:t>Branches</a:t>
            </a:r>
            <a:r>
              <a:rPr lang="en-US" sz="1100" dirty="0"/>
              <a:t> represent moves </a:t>
            </a:r>
          </a:p>
          <a:p>
            <a:pPr lvl="1"/>
            <a:r>
              <a:rPr lang="en-US" sz="1100" b="1" dirty="0"/>
              <a:t>Level </a:t>
            </a:r>
            <a:r>
              <a:rPr lang="en-US" sz="1100" dirty="0"/>
              <a:t>represents number of moves</a:t>
            </a:r>
            <a:endParaRPr lang="en-US" sz="1100" b="1" dirty="0"/>
          </a:p>
          <a:p>
            <a:pPr lvl="1"/>
            <a:endParaRPr lang="en-US" sz="1100" dirty="0"/>
          </a:p>
        </p:txBody>
      </p:sp>
      <p:cxnSp>
        <p:nvCxnSpPr>
          <p:cNvPr id="117" name="Straight Connector 116">
            <a:extLst>
              <a:ext uri="{FF2B5EF4-FFF2-40B4-BE49-F238E27FC236}">
                <a16:creationId xmlns:a16="http://schemas.microsoft.com/office/drawing/2014/main" id="{F485B1CD-3C23-448B-AA88-CA27052F8D92}"/>
              </a:ext>
            </a:extLst>
          </p:cNvPr>
          <p:cNvCxnSpPr>
            <a:cxnSpLocks/>
          </p:cNvCxnSpPr>
          <p:nvPr/>
        </p:nvCxnSpPr>
        <p:spPr>
          <a:xfrm>
            <a:off x="4513223" y="3927419"/>
            <a:ext cx="654129" cy="0"/>
          </a:xfrm>
          <a:prstGeom prst="line">
            <a:avLst/>
          </a:prstGeom>
          <a:ln w="6350" cap="sq">
            <a:solidFill>
              <a:srgbClr val="7F7F7F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8" name="TrackerNumBlue 7">
            <a:extLst>
              <a:ext uri="{FF2B5EF4-FFF2-40B4-BE49-F238E27FC236}">
                <a16:creationId xmlns:a16="http://schemas.microsoft.com/office/drawing/2014/main" id="{8DC48BED-CE48-42B4-9A15-490C24968D70}"/>
              </a:ext>
            </a:extLst>
          </p:cNvPr>
          <p:cNvSpPr/>
          <p:nvPr>
            <p:custDataLst>
              <p:tags r:id="rId11"/>
            </p:custDataLst>
          </p:nvPr>
        </p:nvSpPr>
        <p:spPr>
          <a:xfrm>
            <a:off x="5042832" y="3787749"/>
            <a:ext cx="279340" cy="279340"/>
          </a:xfrm>
          <a:prstGeom prst="ellipse">
            <a:avLst/>
          </a:prstGeom>
          <a:solidFill>
            <a:schemeClr val="accent1"/>
          </a:solidFill>
          <a:ln w="6350" cap="sq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6350" cap="sq" cmpd="sng" algn="ctr">
                <a:solidFill>
                  <a:schemeClr val="accent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US" sz="1100" dirty="0">
                <a:solidFill>
                  <a:schemeClr val="bg1"/>
                </a:solidFill>
              </a:rPr>
              <a:t>0.1</a:t>
            </a:r>
          </a:p>
        </p:txBody>
      </p:sp>
      <p:sp>
        <p:nvSpPr>
          <p:cNvPr id="122" name="TextBox 121">
            <a:extLst>
              <a:ext uri="{FF2B5EF4-FFF2-40B4-BE49-F238E27FC236}">
                <a16:creationId xmlns:a16="http://schemas.microsoft.com/office/drawing/2014/main" id="{EF4B9E81-EBB2-488C-AECD-EE97B4C089C5}"/>
              </a:ext>
            </a:extLst>
          </p:cNvPr>
          <p:cNvSpPr txBox="1"/>
          <p:nvPr/>
        </p:nvSpPr>
        <p:spPr>
          <a:xfrm>
            <a:off x="4587810" y="3751499"/>
            <a:ext cx="478780" cy="169277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100" b="1" dirty="0"/>
              <a:t>1</a:t>
            </a:r>
            <a:r>
              <a:rPr lang="en-US" sz="1100" dirty="0"/>
              <a:t>: B-1</a:t>
            </a:r>
          </a:p>
        </p:txBody>
      </p:sp>
      <p:sp>
        <p:nvSpPr>
          <p:cNvPr id="125" name="TextBox 124">
            <a:extLst>
              <a:ext uri="{FF2B5EF4-FFF2-40B4-BE49-F238E27FC236}">
                <a16:creationId xmlns:a16="http://schemas.microsoft.com/office/drawing/2014/main" id="{3AD5C58C-652F-4D4C-8177-9A5CFA19D110}"/>
              </a:ext>
            </a:extLst>
          </p:cNvPr>
          <p:cNvSpPr txBox="1"/>
          <p:nvPr/>
        </p:nvSpPr>
        <p:spPr>
          <a:xfrm>
            <a:off x="4565998" y="4980595"/>
            <a:ext cx="478780" cy="169277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100" b="1" dirty="0"/>
              <a:t>2</a:t>
            </a:r>
            <a:r>
              <a:rPr lang="en-US" sz="1100" dirty="0"/>
              <a:t>: K+1</a:t>
            </a:r>
          </a:p>
        </p:txBody>
      </p:sp>
      <p:sp>
        <p:nvSpPr>
          <p:cNvPr id="127" name="TextBox 126">
            <a:extLst>
              <a:ext uri="{FF2B5EF4-FFF2-40B4-BE49-F238E27FC236}">
                <a16:creationId xmlns:a16="http://schemas.microsoft.com/office/drawing/2014/main" id="{C3CF7E4B-92C6-48E5-8758-C4602FA5C5E4}"/>
              </a:ext>
            </a:extLst>
          </p:cNvPr>
          <p:cNvSpPr txBox="1"/>
          <p:nvPr/>
        </p:nvSpPr>
        <p:spPr>
          <a:xfrm>
            <a:off x="6308849" y="3751499"/>
            <a:ext cx="478780" cy="169277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100" b="1" dirty="0"/>
              <a:t>1</a:t>
            </a:r>
            <a:r>
              <a:rPr lang="en-US" sz="1100" dirty="0"/>
              <a:t>: B+1</a:t>
            </a:r>
          </a:p>
        </p:txBody>
      </p:sp>
      <p:sp>
        <p:nvSpPr>
          <p:cNvPr id="147" name="Legend1">
            <a:extLst>
              <a:ext uri="{FF2B5EF4-FFF2-40B4-BE49-F238E27FC236}">
                <a16:creationId xmlns:a16="http://schemas.microsoft.com/office/drawing/2014/main" id="{B6848864-E0F6-423C-8197-13969C4CD498}"/>
              </a:ext>
            </a:extLst>
          </p:cNvPr>
          <p:cNvSpPr txBox="1"/>
          <p:nvPr/>
        </p:nvSpPr>
        <p:spPr>
          <a:xfrm>
            <a:off x="8945887" y="389114"/>
            <a:ext cx="928139" cy="153888"/>
          </a:xfrm>
          <a:prstGeom prst="rect">
            <a:avLst/>
          </a:prstGeom>
          <a:noFill/>
          <a:ln>
            <a:noFill/>
            <a:miter lim="800000"/>
          </a:ln>
        </p:spPr>
        <p:txBody>
          <a:bodyPr wrap="none" lIns="0" tIns="0" rIns="0" bIns="0" rtlCol="0" anchor="ctr" anchorCtr="0">
            <a:spAutoFit/>
          </a:bodyPr>
          <a:lstStyle/>
          <a:p>
            <a:pPr>
              <a:spcAft>
                <a:spcPts val="600"/>
              </a:spcAft>
            </a:pPr>
            <a:r>
              <a:rPr lang="en-US" sz="1000"/>
              <a:t>New board state</a:t>
            </a:r>
            <a:endParaRPr lang="en-US" sz="1000" dirty="0"/>
          </a:p>
        </p:txBody>
      </p:sp>
      <p:sp>
        <p:nvSpPr>
          <p:cNvPr id="150" name="Legend2">
            <a:extLst>
              <a:ext uri="{FF2B5EF4-FFF2-40B4-BE49-F238E27FC236}">
                <a16:creationId xmlns:a16="http://schemas.microsoft.com/office/drawing/2014/main" id="{D12D3967-8B8F-4A93-BAD2-3E23277DBA4E}"/>
              </a:ext>
            </a:extLst>
          </p:cNvPr>
          <p:cNvSpPr txBox="1"/>
          <p:nvPr/>
        </p:nvSpPr>
        <p:spPr>
          <a:xfrm>
            <a:off x="8945887" y="768612"/>
            <a:ext cx="1920398" cy="153888"/>
          </a:xfrm>
          <a:prstGeom prst="rect">
            <a:avLst/>
          </a:prstGeom>
          <a:noFill/>
          <a:ln>
            <a:noFill/>
            <a:miter lim="800000"/>
          </a:ln>
        </p:spPr>
        <p:txBody>
          <a:bodyPr wrap="none" lIns="0" tIns="0" rIns="0" bIns="0" rtlCol="0" anchor="ctr" anchorCtr="0">
            <a:spAutoFit/>
          </a:bodyPr>
          <a:lstStyle/>
          <a:p>
            <a:pPr>
              <a:spcAft>
                <a:spcPts val="600"/>
              </a:spcAft>
            </a:pPr>
            <a:r>
              <a:rPr lang="en-US" sz="1000"/>
              <a:t>Similar board state (shut off node)</a:t>
            </a:r>
            <a:endParaRPr lang="en-US" sz="1000" dirty="0"/>
          </a:p>
        </p:txBody>
      </p:sp>
      <p:sp>
        <p:nvSpPr>
          <p:cNvPr id="157" name="TrackerNumBlue 7">
            <a:extLst>
              <a:ext uri="{FF2B5EF4-FFF2-40B4-BE49-F238E27FC236}">
                <a16:creationId xmlns:a16="http://schemas.microsoft.com/office/drawing/2014/main" id="{BF674A74-31EE-462C-A2DA-20350D19D379}"/>
              </a:ext>
            </a:extLst>
          </p:cNvPr>
          <p:cNvSpPr/>
          <p:nvPr>
            <p:custDataLst>
              <p:tags r:id="rId12"/>
            </p:custDataLst>
          </p:nvPr>
        </p:nvSpPr>
        <p:spPr>
          <a:xfrm>
            <a:off x="8540581" y="335676"/>
            <a:ext cx="279340" cy="279340"/>
          </a:xfrm>
          <a:prstGeom prst="ellipse">
            <a:avLst/>
          </a:prstGeom>
          <a:solidFill>
            <a:schemeClr val="accent1"/>
          </a:solidFill>
          <a:ln w="6350" cap="sq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6350" cap="sq" cmpd="sng" algn="ctr">
                <a:solidFill>
                  <a:schemeClr val="accent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US" sz="1100" dirty="0">
                <a:solidFill>
                  <a:schemeClr val="bg1"/>
                </a:solidFill>
              </a:rPr>
              <a:t>1.0</a:t>
            </a:r>
          </a:p>
        </p:txBody>
      </p:sp>
      <p:sp>
        <p:nvSpPr>
          <p:cNvPr id="158" name="TrackerNumBlue 7">
            <a:extLst>
              <a:ext uri="{FF2B5EF4-FFF2-40B4-BE49-F238E27FC236}">
                <a16:creationId xmlns:a16="http://schemas.microsoft.com/office/drawing/2014/main" id="{60D849D9-E161-457B-93AA-8F446AF54920}"/>
              </a:ext>
            </a:extLst>
          </p:cNvPr>
          <p:cNvSpPr/>
          <p:nvPr>
            <p:custDataLst>
              <p:tags r:id="rId13"/>
            </p:custDataLst>
          </p:nvPr>
        </p:nvSpPr>
        <p:spPr>
          <a:xfrm>
            <a:off x="8540581" y="690136"/>
            <a:ext cx="279340" cy="279340"/>
          </a:xfrm>
          <a:prstGeom prst="ellipse">
            <a:avLst/>
          </a:prstGeom>
          <a:solidFill>
            <a:schemeClr val="bg1"/>
          </a:solidFill>
          <a:ln w="6350" cap="sq" cmpd="sng" algn="ctr">
            <a:solidFill>
              <a:schemeClr val="accent1"/>
            </a:solidFill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US" sz="1100" dirty="0">
                <a:solidFill>
                  <a:schemeClr val="accent1"/>
                </a:solidFill>
              </a:rPr>
              <a:t>1.1.0</a:t>
            </a:r>
          </a:p>
        </p:txBody>
      </p:sp>
      <p:sp>
        <p:nvSpPr>
          <p:cNvPr id="159" name="TrackerNumBlue 7">
            <a:extLst>
              <a:ext uri="{FF2B5EF4-FFF2-40B4-BE49-F238E27FC236}">
                <a16:creationId xmlns:a16="http://schemas.microsoft.com/office/drawing/2014/main" id="{B69A0736-7A74-462F-96BA-B01C5437B0C8}"/>
              </a:ext>
            </a:extLst>
          </p:cNvPr>
          <p:cNvSpPr/>
          <p:nvPr>
            <p:custDataLst>
              <p:tags r:id="rId14"/>
            </p:custDataLst>
          </p:nvPr>
        </p:nvSpPr>
        <p:spPr>
          <a:xfrm>
            <a:off x="6783592" y="3772825"/>
            <a:ext cx="279340" cy="279340"/>
          </a:xfrm>
          <a:prstGeom prst="ellipse">
            <a:avLst/>
          </a:prstGeom>
          <a:solidFill>
            <a:schemeClr val="bg1"/>
          </a:solidFill>
          <a:ln w="6350" cap="sq" cmpd="sng" algn="ctr">
            <a:solidFill>
              <a:schemeClr val="accent1"/>
            </a:solidFill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US" sz="1100" dirty="0">
                <a:solidFill>
                  <a:schemeClr val="accent1"/>
                </a:solidFill>
              </a:rPr>
              <a:t>1.1.0</a:t>
            </a:r>
          </a:p>
        </p:txBody>
      </p:sp>
      <p:cxnSp>
        <p:nvCxnSpPr>
          <p:cNvPr id="164" name="Straight Connector 163">
            <a:extLst>
              <a:ext uri="{FF2B5EF4-FFF2-40B4-BE49-F238E27FC236}">
                <a16:creationId xmlns:a16="http://schemas.microsoft.com/office/drawing/2014/main" id="{D1F2D549-2317-48A2-A780-3CFF63B56D2D}"/>
              </a:ext>
            </a:extLst>
          </p:cNvPr>
          <p:cNvCxnSpPr>
            <a:cxnSpLocks/>
            <a:endCxn id="159" idx="2"/>
          </p:cNvCxnSpPr>
          <p:nvPr/>
        </p:nvCxnSpPr>
        <p:spPr>
          <a:xfrm flipV="1">
            <a:off x="5322172" y="3912495"/>
            <a:ext cx="1461420" cy="14924"/>
          </a:xfrm>
          <a:prstGeom prst="line">
            <a:avLst/>
          </a:prstGeom>
          <a:ln w="6350" cap="sq">
            <a:solidFill>
              <a:srgbClr val="7F7F7F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5" name="TrackerNumBlue 7">
            <a:extLst>
              <a:ext uri="{FF2B5EF4-FFF2-40B4-BE49-F238E27FC236}">
                <a16:creationId xmlns:a16="http://schemas.microsoft.com/office/drawing/2014/main" id="{D6FE793A-41D8-4C5A-82F4-3AC0C2632032}"/>
              </a:ext>
            </a:extLst>
          </p:cNvPr>
          <p:cNvSpPr/>
          <p:nvPr>
            <p:custDataLst>
              <p:tags r:id="rId15"/>
            </p:custDataLst>
          </p:nvPr>
        </p:nvSpPr>
        <p:spPr>
          <a:xfrm>
            <a:off x="7089153" y="4807569"/>
            <a:ext cx="279340" cy="279340"/>
          </a:xfrm>
          <a:prstGeom prst="ellipse">
            <a:avLst/>
          </a:prstGeom>
          <a:solidFill>
            <a:schemeClr val="accent1"/>
          </a:solidFill>
          <a:ln w="6350" cap="sq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6350" cap="sq" cmpd="sng" algn="ctr">
                <a:solidFill>
                  <a:schemeClr val="accent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US" sz="1100" dirty="0">
                <a:solidFill>
                  <a:schemeClr val="bg1"/>
                </a:solidFill>
              </a:rPr>
              <a:t>1.2.0</a:t>
            </a:r>
          </a:p>
        </p:txBody>
      </p:sp>
      <p:sp>
        <p:nvSpPr>
          <p:cNvPr id="166" name="TrackerNumBlue 7">
            <a:extLst>
              <a:ext uri="{FF2B5EF4-FFF2-40B4-BE49-F238E27FC236}">
                <a16:creationId xmlns:a16="http://schemas.microsoft.com/office/drawing/2014/main" id="{99A732CB-3622-41CF-8F3A-E9A631A0DD6B}"/>
              </a:ext>
            </a:extLst>
          </p:cNvPr>
          <p:cNvSpPr/>
          <p:nvPr>
            <p:custDataLst>
              <p:tags r:id="rId16"/>
            </p:custDataLst>
          </p:nvPr>
        </p:nvSpPr>
        <p:spPr>
          <a:xfrm>
            <a:off x="7062932" y="5811385"/>
            <a:ext cx="279340" cy="279340"/>
          </a:xfrm>
          <a:prstGeom prst="ellipse">
            <a:avLst/>
          </a:prstGeom>
          <a:solidFill>
            <a:schemeClr val="accent1"/>
          </a:solidFill>
          <a:ln w="6350" cap="sq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6350" cap="sq" cmpd="sng" algn="ctr">
                <a:solidFill>
                  <a:schemeClr val="accent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US" sz="1100" dirty="0">
                <a:solidFill>
                  <a:schemeClr val="bg1"/>
                </a:solidFill>
              </a:rPr>
              <a:t>1.2.1</a:t>
            </a:r>
          </a:p>
        </p:txBody>
      </p:sp>
      <p:sp>
        <p:nvSpPr>
          <p:cNvPr id="167" name="TrackerNumBlue 7">
            <a:extLst>
              <a:ext uri="{FF2B5EF4-FFF2-40B4-BE49-F238E27FC236}">
                <a16:creationId xmlns:a16="http://schemas.microsoft.com/office/drawing/2014/main" id="{9D2EC98C-F145-4FBD-9DE5-E955D1A8A52D}"/>
              </a:ext>
            </a:extLst>
          </p:cNvPr>
          <p:cNvSpPr/>
          <p:nvPr>
            <p:custDataLst>
              <p:tags r:id="rId17"/>
            </p:custDataLst>
          </p:nvPr>
        </p:nvSpPr>
        <p:spPr>
          <a:xfrm>
            <a:off x="7049812" y="1705475"/>
            <a:ext cx="279340" cy="279340"/>
          </a:xfrm>
          <a:prstGeom prst="ellipse">
            <a:avLst/>
          </a:prstGeom>
          <a:solidFill>
            <a:schemeClr val="bg1"/>
          </a:solidFill>
          <a:ln w="6350" cap="sq" cmpd="sng" algn="ctr">
            <a:solidFill>
              <a:schemeClr val="accent1"/>
            </a:solidFill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US" sz="1100" dirty="0">
                <a:solidFill>
                  <a:schemeClr val="accent1"/>
                </a:solidFill>
              </a:rPr>
              <a:t>0.0.0</a:t>
            </a:r>
          </a:p>
        </p:txBody>
      </p:sp>
      <p:sp>
        <p:nvSpPr>
          <p:cNvPr id="168" name="TrackerNumBlue 7">
            <a:extLst>
              <a:ext uri="{FF2B5EF4-FFF2-40B4-BE49-F238E27FC236}">
                <a16:creationId xmlns:a16="http://schemas.microsoft.com/office/drawing/2014/main" id="{C5F33C7F-A96E-43DC-A90D-786D2C8A6636}"/>
              </a:ext>
            </a:extLst>
          </p:cNvPr>
          <p:cNvSpPr/>
          <p:nvPr>
            <p:custDataLst>
              <p:tags r:id="rId18"/>
            </p:custDataLst>
          </p:nvPr>
        </p:nvSpPr>
        <p:spPr>
          <a:xfrm>
            <a:off x="7049812" y="2790335"/>
            <a:ext cx="279340" cy="279340"/>
          </a:xfrm>
          <a:prstGeom prst="ellipse">
            <a:avLst/>
          </a:prstGeom>
          <a:solidFill>
            <a:schemeClr val="accent1"/>
          </a:solidFill>
          <a:ln w="6350" cap="sq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6350" cap="sq" cmpd="sng" algn="ctr">
                <a:solidFill>
                  <a:schemeClr val="accent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US" sz="1100" dirty="0">
                <a:solidFill>
                  <a:schemeClr val="bg1"/>
                </a:solidFill>
              </a:rPr>
              <a:t>0.1.0</a:t>
            </a: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0E09BB3E-98CE-437A-82C9-6FB1053F7474}"/>
              </a:ext>
            </a:extLst>
          </p:cNvPr>
          <p:cNvSpPr/>
          <p:nvPr/>
        </p:nvSpPr>
        <p:spPr>
          <a:xfrm>
            <a:off x="7364368" y="1634700"/>
            <a:ext cx="2860112" cy="4708950"/>
          </a:xfrm>
          <a:prstGeom prst="rect">
            <a:avLst/>
          </a:prstGeom>
          <a:gradFill flip="none" rotWithShape="1">
            <a:gsLst>
              <a:gs pos="0">
                <a:schemeClr val="bg2">
                  <a:alpha val="45000"/>
                </a:schemeClr>
              </a:gs>
              <a:gs pos="74000">
                <a:schemeClr val="tx2"/>
              </a:gs>
              <a:gs pos="83000">
                <a:schemeClr val="bg2"/>
              </a:gs>
              <a:gs pos="100000">
                <a:schemeClr val="bg2"/>
              </a:gs>
            </a:gsLst>
            <a:lin ang="0" scaled="1"/>
            <a:tileRect/>
          </a:gra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2E1A86B0-F0CC-4F5B-8BA4-A38A43592A29}"/>
              </a:ext>
            </a:extLst>
          </p:cNvPr>
          <p:cNvSpPr/>
          <p:nvPr/>
        </p:nvSpPr>
        <p:spPr>
          <a:xfrm>
            <a:off x="7355786" y="1686111"/>
            <a:ext cx="1230443" cy="336616"/>
          </a:xfrm>
          <a:prstGeom prst="rect">
            <a:avLst/>
          </a:prstGeom>
          <a:solidFill>
            <a:schemeClr val="tx2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44" name="TextBox 7">
            <a:extLst>
              <a:ext uri="{FF2B5EF4-FFF2-40B4-BE49-F238E27FC236}">
                <a16:creationId xmlns:a16="http://schemas.microsoft.com/office/drawing/2014/main" id="{41271C7A-685F-8D43-835A-2DDBFD107940}"/>
              </a:ext>
            </a:extLst>
          </p:cNvPr>
          <p:cNvSpPr txBox="1"/>
          <p:nvPr/>
        </p:nvSpPr>
        <p:spPr>
          <a:xfrm>
            <a:off x="9530447" y="1874236"/>
            <a:ext cx="2102894" cy="4206523"/>
          </a:xfrm>
          <a:prstGeom prst="rect">
            <a:avLst/>
          </a:prstGeom>
        </p:spPr>
        <p:txBody>
          <a:bodyPr vert="horz" wrap="square" lIns="274320" tIns="0" rIns="0" bIns="0" rtlCol="0" anchor="t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3175" lvl="1" indent="0">
              <a:spcAft>
                <a:spcPts val="600"/>
              </a:spcAft>
              <a:buNone/>
            </a:pPr>
            <a:endParaRPr lang="en-US" sz="1400" dirty="0"/>
          </a:p>
          <a:p>
            <a:pPr marL="3175" lvl="1" indent="0">
              <a:spcAft>
                <a:spcPts val="600"/>
              </a:spcAft>
              <a:buNone/>
            </a:pPr>
            <a:endParaRPr lang="en-US" sz="1400" dirty="0"/>
          </a:p>
          <a:p>
            <a:pPr lvl="1">
              <a:spcAft>
                <a:spcPts val="600"/>
              </a:spcAft>
            </a:pPr>
            <a:endParaRPr lang="en-US" sz="1400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387578304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2" hidden="1">
            <a:extLst>
              <a:ext uri="{FF2B5EF4-FFF2-40B4-BE49-F238E27FC236}">
                <a16:creationId xmlns:a16="http://schemas.microsoft.com/office/drawing/2014/main" id="{75B3ACA5-822D-4DD8-AD27-A01FCB89231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0150"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7" name="Object 2" hidden="1">
                        <a:extLst>
                          <a:ext uri="{FF2B5EF4-FFF2-40B4-BE49-F238E27FC236}">
                            <a16:creationId xmlns:a16="http://schemas.microsoft.com/office/drawing/2014/main" id="{75B3ACA5-822D-4DD8-AD27-A01FCB89231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" hidden="1">
            <a:extLst>
              <a:ext uri="{FF2B5EF4-FFF2-40B4-BE49-F238E27FC236}">
                <a16:creationId xmlns:a16="http://schemas.microsoft.com/office/drawing/2014/main" id="{B38CA918-E19D-4D77-A525-FB7769A349E5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2500" b="1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6" name="2. Slide Title">
            <a:extLst>
              <a:ext uri="{FF2B5EF4-FFF2-40B4-BE49-F238E27FC236}">
                <a16:creationId xmlns:a16="http://schemas.microsoft.com/office/drawing/2014/main" id="{015E69FB-49E9-4802-8601-954D7DA0143E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/>
        <p:txBody>
          <a:bodyPr/>
          <a:lstStyle/>
          <a:p>
            <a:r>
              <a:rPr lang="en-US" dirty="0"/>
              <a:t>Random algorithm test</a:t>
            </a:r>
          </a:p>
        </p:txBody>
      </p:sp>
      <p:cxnSp>
        <p:nvCxnSpPr>
          <p:cNvPr id="15" name="LineBasicDefault 16">
            <a:extLst>
              <a:ext uri="{FF2B5EF4-FFF2-40B4-BE49-F238E27FC236}">
                <a16:creationId xmlns:a16="http://schemas.microsoft.com/office/drawing/2014/main" id="{F4925639-E01F-42AD-B670-FDCEA9494274}"/>
              </a:ext>
            </a:extLst>
          </p:cNvPr>
          <p:cNvCxnSpPr>
            <a:cxnSpLocks/>
          </p:cNvCxnSpPr>
          <p:nvPr>
            <p:custDataLst>
              <p:tags r:id="rId5"/>
            </p:custDataLst>
          </p:nvPr>
        </p:nvCxnSpPr>
        <p:spPr>
          <a:xfrm>
            <a:off x="565988" y="1737360"/>
            <a:ext cx="8555152" cy="0"/>
          </a:xfrm>
          <a:prstGeom prst="straightConnector1">
            <a:avLst/>
          </a:prstGeom>
          <a:ln w="6350" cap="sq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LineBasicDefault 16">
            <a:extLst>
              <a:ext uri="{FF2B5EF4-FFF2-40B4-BE49-F238E27FC236}">
                <a16:creationId xmlns:a16="http://schemas.microsoft.com/office/drawing/2014/main" id="{AB9CC399-DFF5-489B-AAB0-4071CA65DC0E}"/>
              </a:ext>
            </a:extLst>
          </p:cNvPr>
          <p:cNvCxnSpPr>
            <a:cxnSpLocks/>
          </p:cNvCxnSpPr>
          <p:nvPr>
            <p:custDataLst>
              <p:tags r:id="rId6"/>
            </p:custDataLst>
          </p:nvPr>
        </p:nvCxnSpPr>
        <p:spPr>
          <a:xfrm>
            <a:off x="9121140" y="1737360"/>
            <a:ext cx="2516124" cy="0"/>
          </a:xfrm>
          <a:prstGeom prst="straightConnector1">
            <a:avLst/>
          </a:prstGeom>
          <a:ln w="6350" cap="sq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Afbeelding 10" descr="Afbeelding met schermafbeelding&#10;&#10;Automatisch gegenereerde beschrijving">
            <a:extLst>
              <a:ext uri="{FF2B5EF4-FFF2-40B4-BE49-F238E27FC236}">
                <a16:creationId xmlns:a16="http://schemas.microsoft.com/office/drawing/2014/main" id="{490BA738-D4CF-5E48-BF6A-F51E4203E03F}"/>
              </a:ext>
            </a:extLst>
          </p:cNvPr>
          <p:cNvPicPr>
            <a:picLocks noChangeAspect="1"/>
          </p:cNvPicPr>
          <p:nvPr/>
        </p:nvPicPr>
        <p:blipFill rotWithShape="1">
          <a:blip r:embed="rId11"/>
          <a:srcRect l="8127" t="8410" r="8699" b="4410"/>
          <a:stretch/>
        </p:blipFill>
        <p:spPr>
          <a:xfrm>
            <a:off x="337625" y="1862975"/>
            <a:ext cx="7216721" cy="4523757"/>
          </a:xfrm>
          <a:prstGeom prst="rect">
            <a:avLst/>
          </a:prstGeom>
        </p:spPr>
      </p:pic>
      <p:sp>
        <p:nvSpPr>
          <p:cNvPr id="36" name="TextBox 7">
            <a:extLst>
              <a:ext uri="{FF2B5EF4-FFF2-40B4-BE49-F238E27FC236}">
                <a16:creationId xmlns:a16="http://schemas.microsoft.com/office/drawing/2014/main" id="{F0CA991D-8E85-BC44-B249-606E27E1B209}"/>
              </a:ext>
            </a:extLst>
          </p:cNvPr>
          <p:cNvSpPr txBox="1"/>
          <p:nvPr/>
        </p:nvSpPr>
        <p:spPr>
          <a:xfrm>
            <a:off x="8877300" y="1874236"/>
            <a:ext cx="2102894" cy="4206523"/>
          </a:xfrm>
          <a:prstGeom prst="rect">
            <a:avLst/>
          </a:prstGeom>
        </p:spPr>
        <p:txBody>
          <a:bodyPr vert="horz" wrap="square" lIns="274320" tIns="0" rIns="0" bIns="0" rtlCol="0" anchor="t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1">
              <a:spcAft>
                <a:spcPts val="600"/>
              </a:spcAft>
            </a:pPr>
            <a:r>
              <a:rPr lang="en-US" sz="1400" dirty="0"/>
              <a:t>To compare the lower and upper bound with the random advanced algorithm, breadth-first and depth-first.</a:t>
            </a:r>
          </a:p>
          <a:p>
            <a:pPr marL="3175" lvl="1" indent="0">
              <a:spcAft>
                <a:spcPts val="600"/>
              </a:spcAft>
              <a:buNone/>
            </a:pPr>
            <a:endParaRPr lang="en-US" sz="1400" dirty="0"/>
          </a:p>
          <a:p>
            <a:pPr lvl="1">
              <a:spcAft>
                <a:spcPts val="600"/>
              </a:spcAft>
            </a:pPr>
            <a:endParaRPr lang="en-US" sz="1400" dirty="0"/>
          </a:p>
          <a:p>
            <a:pPr marL="3175" lvl="1" indent="0">
              <a:spcAft>
                <a:spcPts val="600"/>
              </a:spcAft>
              <a:buNone/>
            </a:pPr>
            <a:endParaRPr lang="en-US" sz="1400" dirty="0"/>
          </a:p>
          <a:p>
            <a:pPr lvl="1">
              <a:spcAft>
                <a:spcPts val="600"/>
              </a:spcAft>
            </a:pPr>
            <a:endParaRPr lang="en-US" sz="1400" dirty="0"/>
          </a:p>
          <a:p>
            <a:pPr marL="3175" lvl="1" indent="0">
              <a:spcAft>
                <a:spcPts val="600"/>
              </a:spcAft>
              <a:buNone/>
            </a:pPr>
            <a:endParaRPr lang="en-US" sz="1400" dirty="0"/>
          </a:p>
        </p:txBody>
      </p:sp>
      <p:sp>
        <p:nvSpPr>
          <p:cNvPr id="37" name="TextBox 46">
            <a:extLst>
              <a:ext uri="{FF2B5EF4-FFF2-40B4-BE49-F238E27FC236}">
                <a16:creationId xmlns:a16="http://schemas.microsoft.com/office/drawing/2014/main" id="{A2547DEF-4F05-584C-A124-D6E3E623A802}"/>
              </a:ext>
            </a:extLst>
          </p:cNvPr>
          <p:cNvSpPr txBox="1"/>
          <p:nvPr/>
        </p:nvSpPr>
        <p:spPr>
          <a:xfrm>
            <a:off x="565988" y="1395084"/>
            <a:ext cx="2447722" cy="307777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US" sz="2000" b="1" dirty="0">
                <a:cs typeface="+mn-cs"/>
              </a:rPr>
              <a:t>Board 6x6 game 1</a:t>
            </a:r>
            <a:endParaRPr lang="en-US" dirty="0">
              <a:cs typeface="+mn-cs"/>
            </a:endParaRPr>
          </a:p>
        </p:txBody>
      </p:sp>
      <p:sp>
        <p:nvSpPr>
          <p:cNvPr id="38" name="Arrow: Chevron 33">
            <a:extLst>
              <a:ext uri="{FF2B5EF4-FFF2-40B4-BE49-F238E27FC236}">
                <a16:creationId xmlns:a16="http://schemas.microsoft.com/office/drawing/2014/main" id="{7C49D249-B153-2747-A55E-1FDA1DDB6EDB}"/>
              </a:ext>
            </a:extLst>
          </p:cNvPr>
          <p:cNvSpPr/>
          <p:nvPr/>
        </p:nvSpPr>
        <p:spPr>
          <a:xfrm>
            <a:off x="8693658" y="1554480"/>
            <a:ext cx="484632" cy="484632"/>
          </a:xfrm>
          <a:prstGeom prst="chevron">
            <a:avLst/>
          </a:prstGeom>
          <a:solidFill>
            <a:schemeClr val="accent2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39" name="TextBox 47">
            <a:extLst>
              <a:ext uri="{FF2B5EF4-FFF2-40B4-BE49-F238E27FC236}">
                <a16:creationId xmlns:a16="http://schemas.microsoft.com/office/drawing/2014/main" id="{2433767E-AC60-B442-AECC-6DF5EC86FFAD}"/>
              </a:ext>
            </a:extLst>
          </p:cNvPr>
          <p:cNvSpPr txBox="1"/>
          <p:nvPr/>
        </p:nvSpPr>
        <p:spPr>
          <a:xfrm>
            <a:off x="9167230" y="1395084"/>
            <a:ext cx="2447722" cy="307777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US" sz="2000" b="1" dirty="0">
                <a:cs typeface="+mn-cs"/>
              </a:rPr>
              <a:t>Take-aways</a:t>
            </a:r>
            <a:endParaRPr lang="en-US" dirty="0"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2165970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2" hidden="1">
            <a:extLst>
              <a:ext uri="{FF2B5EF4-FFF2-40B4-BE49-F238E27FC236}">
                <a16:creationId xmlns:a16="http://schemas.microsoft.com/office/drawing/2014/main" id="{F335BC2E-68E6-43FC-ACED-AE46FEFCA151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1167"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6" name="Object 2" hidden="1">
                        <a:extLst>
                          <a:ext uri="{FF2B5EF4-FFF2-40B4-BE49-F238E27FC236}">
                            <a16:creationId xmlns:a16="http://schemas.microsoft.com/office/drawing/2014/main" id="{F335BC2E-68E6-43FC-ACED-AE46FEFCA1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" hidden="1">
            <a:extLst>
              <a:ext uri="{FF2B5EF4-FFF2-40B4-BE49-F238E27FC236}">
                <a16:creationId xmlns:a16="http://schemas.microsoft.com/office/drawing/2014/main" id="{AD4AD15D-56CF-4D77-8F3A-A842E4773D48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2500" b="1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461846" name="2. Slide Title"/>
          <p:cNvSpPr>
            <a:spLocks noGrp="1" noChangeArrowheads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321067"/>
            <a:ext cx="11082528" cy="731520"/>
          </a:xfrm>
        </p:spPr>
        <p:txBody>
          <a:bodyPr/>
          <a:lstStyle/>
          <a:p>
            <a:r>
              <a:rPr lang="en-US" dirty="0"/>
              <a:t>Comparison of the algorithms</a:t>
            </a:r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2E1A86B0-F0CC-4F5B-8BA4-A38A43592A29}"/>
              </a:ext>
            </a:extLst>
          </p:cNvPr>
          <p:cNvSpPr/>
          <p:nvPr/>
        </p:nvSpPr>
        <p:spPr>
          <a:xfrm>
            <a:off x="7355786" y="1686111"/>
            <a:ext cx="1230443" cy="336616"/>
          </a:xfrm>
          <a:prstGeom prst="rect">
            <a:avLst/>
          </a:prstGeom>
          <a:solidFill>
            <a:schemeClr val="tx2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graphicFrame>
        <p:nvGraphicFramePr>
          <p:cNvPr id="4" name="Tabel 3">
            <a:extLst>
              <a:ext uri="{FF2B5EF4-FFF2-40B4-BE49-F238E27FC236}">
                <a16:creationId xmlns:a16="http://schemas.microsoft.com/office/drawing/2014/main" id="{8B3850A2-5C2A-9543-9D4E-372DC16DD56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55056236"/>
              </p:ext>
            </p:extLst>
          </p:nvPr>
        </p:nvGraphicFramePr>
        <p:xfrm>
          <a:off x="554736" y="1996721"/>
          <a:ext cx="2503346" cy="4325434"/>
        </p:xfrm>
        <a:graphic>
          <a:graphicData uri="http://schemas.openxmlformats.org/drawingml/2006/table">
            <a:tbl>
              <a:tblPr firstRow="1" bandRow="1">
                <a:tableStyleId>{9D7B26C5-4107-4FEC-AEDC-1716B250A1EF}</a:tableStyleId>
              </a:tblPr>
              <a:tblGrid>
                <a:gridCol w="2503346">
                  <a:extLst>
                    <a:ext uri="{9D8B030D-6E8A-4147-A177-3AD203B41FA5}">
                      <a16:colId xmlns:a16="http://schemas.microsoft.com/office/drawing/2014/main" val="3997698673"/>
                    </a:ext>
                  </a:extLst>
                </a:gridCol>
              </a:tblGrid>
              <a:tr h="879214">
                <a:tc>
                  <a:txBody>
                    <a:bodyPr/>
                    <a:lstStyle/>
                    <a:p>
                      <a:pPr algn="ctr"/>
                      <a:r>
                        <a:rPr lang="nl-NL" sz="1700" dirty="0" err="1"/>
                        <a:t>Algorithms</a:t>
                      </a:r>
                      <a:endParaRPr lang="nl-NL" sz="1700" dirty="0"/>
                    </a:p>
                  </a:txBody>
                  <a:tcPr marT="41564" marB="41564"/>
                </a:tc>
                <a:extLst>
                  <a:ext uri="{0D108BD9-81ED-4DB2-BD59-A6C34878D82A}">
                    <a16:rowId xmlns:a16="http://schemas.microsoft.com/office/drawing/2014/main" val="1159958423"/>
                  </a:ext>
                </a:extLst>
              </a:tr>
              <a:tr h="861555">
                <a:tc>
                  <a:txBody>
                    <a:bodyPr/>
                    <a:lstStyle/>
                    <a:p>
                      <a:pPr algn="ctr"/>
                      <a:r>
                        <a:rPr lang="nl-NL" sz="1700" dirty="0"/>
                        <a:t>Random </a:t>
                      </a:r>
                      <a:r>
                        <a:rPr lang="nl-NL" sz="1700" dirty="0" err="1"/>
                        <a:t>algorithm</a:t>
                      </a:r>
                      <a:endParaRPr lang="nl-NL" sz="1700" dirty="0"/>
                    </a:p>
                    <a:p>
                      <a:pPr algn="ctr"/>
                      <a:r>
                        <a:rPr lang="nl-NL" sz="1700" dirty="0"/>
                        <a:t>1000x</a:t>
                      </a:r>
                    </a:p>
                  </a:txBody>
                  <a:tcPr marT="41564" marB="41564"/>
                </a:tc>
                <a:extLst>
                  <a:ext uri="{0D108BD9-81ED-4DB2-BD59-A6C34878D82A}">
                    <a16:rowId xmlns:a16="http://schemas.microsoft.com/office/drawing/2014/main" val="1559073262"/>
                  </a:ext>
                </a:extLst>
              </a:tr>
              <a:tr h="861555">
                <a:tc>
                  <a:txBody>
                    <a:bodyPr/>
                    <a:lstStyle/>
                    <a:p>
                      <a:pPr algn="ctr"/>
                      <a:r>
                        <a:rPr lang="nl-NL" sz="1700" dirty="0"/>
                        <a:t>Advanced random </a:t>
                      </a:r>
                    </a:p>
                  </a:txBody>
                  <a:tcPr marT="41564" marB="41564"/>
                </a:tc>
                <a:extLst>
                  <a:ext uri="{0D108BD9-81ED-4DB2-BD59-A6C34878D82A}">
                    <a16:rowId xmlns:a16="http://schemas.microsoft.com/office/drawing/2014/main" val="606027221"/>
                  </a:ext>
                </a:extLst>
              </a:tr>
              <a:tr h="861555">
                <a:tc>
                  <a:txBody>
                    <a:bodyPr/>
                    <a:lstStyle/>
                    <a:p>
                      <a:pPr algn="ctr"/>
                      <a:r>
                        <a:rPr lang="nl-NL" sz="1700" dirty="0"/>
                        <a:t>Depth-first</a:t>
                      </a:r>
                    </a:p>
                  </a:txBody>
                  <a:tcPr marT="41564" marB="41564"/>
                </a:tc>
                <a:extLst>
                  <a:ext uri="{0D108BD9-81ED-4DB2-BD59-A6C34878D82A}">
                    <a16:rowId xmlns:a16="http://schemas.microsoft.com/office/drawing/2014/main" val="3062651987"/>
                  </a:ext>
                </a:extLst>
              </a:tr>
              <a:tr h="861555">
                <a:tc>
                  <a:txBody>
                    <a:bodyPr/>
                    <a:lstStyle/>
                    <a:p>
                      <a:pPr algn="ctr"/>
                      <a:r>
                        <a:rPr lang="nl-NL" sz="1700" dirty="0" err="1"/>
                        <a:t>Breadth</a:t>
                      </a:r>
                      <a:r>
                        <a:rPr lang="nl-NL" sz="1700" dirty="0"/>
                        <a:t>-first</a:t>
                      </a:r>
                    </a:p>
                  </a:txBody>
                  <a:tcPr marT="41564" marB="41564"/>
                </a:tc>
                <a:extLst>
                  <a:ext uri="{0D108BD9-81ED-4DB2-BD59-A6C34878D82A}">
                    <a16:rowId xmlns:a16="http://schemas.microsoft.com/office/drawing/2014/main" val="2752041919"/>
                  </a:ext>
                </a:extLst>
              </a:tr>
            </a:tbl>
          </a:graphicData>
        </a:graphic>
      </p:graphicFrame>
      <p:graphicFrame>
        <p:nvGraphicFramePr>
          <p:cNvPr id="7" name="Tabel 6">
            <a:extLst>
              <a:ext uri="{FF2B5EF4-FFF2-40B4-BE49-F238E27FC236}">
                <a16:creationId xmlns:a16="http://schemas.microsoft.com/office/drawing/2014/main" id="{32244ED1-B832-8F4D-8C95-A18D08AB160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49775302"/>
              </p:ext>
            </p:extLst>
          </p:nvPr>
        </p:nvGraphicFramePr>
        <p:xfrm>
          <a:off x="3291785" y="1997061"/>
          <a:ext cx="8128002" cy="4302860"/>
        </p:xfrm>
        <a:graphic>
          <a:graphicData uri="http://schemas.openxmlformats.org/drawingml/2006/table">
            <a:tbl>
              <a:tblPr firstRow="1" bandRow="1">
                <a:tableStyleId>{9D7B26C5-4107-4FEC-AEDC-1716B250A1EF}</a:tableStyleId>
              </a:tblPr>
              <a:tblGrid>
                <a:gridCol w="1354667">
                  <a:extLst>
                    <a:ext uri="{9D8B030D-6E8A-4147-A177-3AD203B41FA5}">
                      <a16:colId xmlns:a16="http://schemas.microsoft.com/office/drawing/2014/main" val="3353440355"/>
                    </a:ext>
                  </a:extLst>
                </a:gridCol>
                <a:gridCol w="1354667">
                  <a:extLst>
                    <a:ext uri="{9D8B030D-6E8A-4147-A177-3AD203B41FA5}">
                      <a16:colId xmlns:a16="http://schemas.microsoft.com/office/drawing/2014/main" val="1494363669"/>
                    </a:ext>
                  </a:extLst>
                </a:gridCol>
                <a:gridCol w="1354667">
                  <a:extLst>
                    <a:ext uri="{9D8B030D-6E8A-4147-A177-3AD203B41FA5}">
                      <a16:colId xmlns:a16="http://schemas.microsoft.com/office/drawing/2014/main" val="982334398"/>
                    </a:ext>
                  </a:extLst>
                </a:gridCol>
                <a:gridCol w="1354667">
                  <a:extLst>
                    <a:ext uri="{9D8B030D-6E8A-4147-A177-3AD203B41FA5}">
                      <a16:colId xmlns:a16="http://schemas.microsoft.com/office/drawing/2014/main" val="2205106617"/>
                    </a:ext>
                  </a:extLst>
                </a:gridCol>
                <a:gridCol w="1354667">
                  <a:extLst>
                    <a:ext uri="{9D8B030D-6E8A-4147-A177-3AD203B41FA5}">
                      <a16:colId xmlns:a16="http://schemas.microsoft.com/office/drawing/2014/main" val="1728576136"/>
                    </a:ext>
                  </a:extLst>
                </a:gridCol>
                <a:gridCol w="1354667">
                  <a:extLst>
                    <a:ext uri="{9D8B030D-6E8A-4147-A177-3AD203B41FA5}">
                      <a16:colId xmlns:a16="http://schemas.microsoft.com/office/drawing/2014/main" val="3931276372"/>
                    </a:ext>
                  </a:extLst>
                </a:gridCol>
              </a:tblGrid>
              <a:tr h="872836">
                <a:tc>
                  <a:txBody>
                    <a:bodyPr/>
                    <a:lstStyle/>
                    <a:p>
                      <a:pPr algn="ctr"/>
                      <a:r>
                        <a:rPr lang="nl-NL" sz="1700" dirty="0"/>
                        <a:t>Moves</a:t>
                      </a:r>
                    </a:p>
                    <a:p>
                      <a:pPr algn="ctr"/>
                      <a:r>
                        <a:rPr lang="nl-NL" sz="1200" dirty="0" err="1"/>
                        <a:t>Lower</a:t>
                      </a:r>
                      <a:r>
                        <a:rPr lang="nl-NL" sz="1200" dirty="0"/>
                        <a:t> </a:t>
                      </a:r>
                      <a:r>
                        <a:rPr lang="nl-NL" sz="1200" dirty="0" err="1"/>
                        <a:t>bound</a:t>
                      </a:r>
                      <a:r>
                        <a:rPr lang="nl-NL" sz="1200" dirty="0"/>
                        <a:t>, in case of.</a:t>
                      </a:r>
                    </a:p>
                  </a:txBody>
                  <a:tcPr marT="41564" marB="41564"/>
                </a:tc>
                <a:tc>
                  <a:txBody>
                    <a:bodyPr/>
                    <a:lstStyle/>
                    <a:p>
                      <a:pPr algn="ctr"/>
                      <a:r>
                        <a:rPr lang="nl-NL" sz="1700" dirty="0"/>
                        <a:t>Time </a:t>
                      </a:r>
                      <a:r>
                        <a:rPr lang="nl-NL" sz="1200" dirty="0" err="1"/>
                        <a:t>Lower</a:t>
                      </a:r>
                      <a:r>
                        <a:rPr lang="nl-NL" sz="1200" dirty="0"/>
                        <a:t> </a:t>
                      </a:r>
                      <a:r>
                        <a:rPr lang="nl-NL" sz="1200" dirty="0" err="1"/>
                        <a:t>bound</a:t>
                      </a:r>
                      <a:r>
                        <a:rPr lang="nl-NL" sz="1200" dirty="0"/>
                        <a:t>, in case of.</a:t>
                      </a:r>
                    </a:p>
                    <a:p>
                      <a:pPr algn="ctr"/>
                      <a:r>
                        <a:rPr lang="nl-NL" sz="1200" dirty="0" err="1"/>
                        <a:t>seconds</a:t>
                      </a:r>
                      <a:endParaRPr lang="nl-NL" sz="1200" dirty="0"/>
                    </a:p>
                  </a:txBody>
                  <a:tcPr marT="41564" marB="41564"/>
                </a:tc>
                <a:tc>
                  <a:txBody>
                    <a:bodyPr/>
                    <a:lstStyle/>
                    <a:p>
                      <a:pPr algn="ctr"/>
                      <a:r>
                        <a:rPr lang="nl-NL" sz="1700" dirty="0" err="1"/>
                        <a:t>Average</a:t>
                      </a:r>
                      <a:r>
                        <a:rPr lang="nl-NL" sz="1700" dirty="0"/>
                        <a:t> moves</a:t>
                      </a:r>
                    </a:p>
                  </a:txBody>
                  <a:tcPr marT="41564" marB="41564"/>
                </a:tc>
                <a:tc>
                  <a:txBody>
                    <a:bodyPr/>
                    <a:lstStyle/>
                    <a:p>
                      <a:pPr algn="ctr"/>
                      <a:r>
                        <a:rPr lang="nl-NL" sz="1700" dirty="0" err="1"/>
                        <a:t>Average</a:t>
                      </a:r>
                      <a:r>
                        <a:rPr lang="nl-NL" sz="1700" dirty="0"/>
                        <a:t> time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l-NL" sz="1200"/>
                        <a:t>seconden</a:t>
                      </a:r>
                      <a:endParaRPr lang="nl-NL" sz="1200" dirty="0"/>
                    </a:p>
                  </a:txBody>
                  <a:tcPr marT="41564" marB="41564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l-NL" sz="1700" dirty="0" err="1"/>
                        <a:t>Upper</a:t>
                      </a:r>
                      <a:r>
                        <a:rPr lang="nl-NL" sz="1700" dirty="0"/>
                        <a:t> </a:t>
                      </a:r>
                      <a:r>
                        <a:rPr lang="nl-NL" sz="1700" dirty="0" err="1"/>
                        <a:t>bound</a:t>
                      </a:r>
                      <a:r>
                        <a:rPr lang="nl-NL" sz="1700" dirty="0"/>
                        <a:t> moves</a:t>
                      </a:r>
                    </a:p>
                  </a:txBody>
                  <a:tcPr marT="41564" marB="41564"/>
                </a:tc>
                <a:tc>
                  <a:txBody>
                    <a:bodyPr/>
                    <a:lstStyle/>
                    <a:p>
                      <a:pPr algn="ctr"/>
                      <a:r>
                        <a:rPr lang="nl-NL" sz="1700" dirty="0" err="1"/>
                        <a:t>Upper</a:t>
                      </a:r>
                      <a:r>
                        <a:rPr lang="nl-NL" sz="1700" dirty="0"/>
                        <a:t> </a:t>
                      </a:r>
                      <a:r>
                        <a:rPr lang="nl-NL" sz="1700" dirty="0" err="1"/>
                        <a:t>bound</a:t>
                      </a:r>
                      <a:r>
                        <a:rPr lang="nl-NL" sz="1700" dirty="0"/>
                        <a:t> time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l-NL" sz="1200" dirty="0"/>
                        <a:t>minutes</a:t>
                      </a:r>
                      <a:endParaRPr lang="nl-NL" sz="1700" dirty="0"/>
                    </a:p>
                  </a:txBody>
                  <a:tcPr marT="41564" marB="41564"/>
                </a:tc>
                <a:extLst>
                  <a:ext uri="{0D108BD9-81ED-4DB2-BD59-A6C34878D82A}">
                    <a16:rowId xmlns:a16="http://schemas.microsoft.com/office/drawing/2014/main" val="984425828"/>
                  </a:ext>
                </a:extLst>
              </a:tr>
              <a:tr h="853003">
                <a:tc>
                  <a:txBody>
                    <a:bodyPr/>
                    <a:lstStyle/>
                    <a:p>
                      <a:pPr algn="ctr"/>
                      <a:r>
                        <a:rPr lang="nl-NL" sz="1700" dirty="0"/>
                        <a:t>314</a:t>
                      </a:r>
                    </a:p>
                  </a:txBody>
                  <a:tcPr marT="41564" marB="41564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l-NL" sz="18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.6</a:t>
                      </a:r>
                    </a:p>
                    <a:p>
                      <a:endParaRPr lang="nl-NL" sz="1700" dirty="0"/>
                    </a:p>
                  </a:txBody>
                  <a:tcPr marT="41564" marB="41564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l-NL" sz="18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4392</a:t>
                      </a:r>
                    </a:p>
                    <a:p>
                      <a:endParaRPr lang="nl-NL" sz="1700" dirty="0"/>
                    </a:p>
                  </a:txBody>
                  <a:tcPr marT="41564" marB="41564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l-NL" sz="18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7.12</a:t>
                      </a:r>
                      <a:endParaRPr lang="nl-NL" sz="1700" dirty="0"/>
                    </a:p>
                  </a:txBody>
                  <a:tcPr marT="41564" marB="41564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l-NL" sz="18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14266</a:t>
                      </a:r>
                    </a:p>
                    <a:p>
                      <a:endParaRPr lang="nl-NL" sz="1700" dirty="0"/>
                    </a:p>
                  </a:txBody>
                  <a:tcPr marT="41564" marB="41564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l-NL" sz="18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.486</a:t>
                      </a:r>
                    </a:p>
                    <a:p>
                      <a:endParaRPr lang="nl-NL" sz="1700" dirty="0"/>
                    </a:p>
                  </a:txBody>
                  <a:tcPr marT="41564" marB="41564"/>
                </a:tc>
                <a:extLst>
                  <a:ext uri="{0D108BD9-81ED-4DB2-BD59-A6C34878D82A}">
                    <a16:rowId xmlns:a16="http://schemas.microsoft.com/office/drawing/2014/main" val="2574516845"/>
                  </a:ext>
                </a:extLst>
              </a:tr>
              <a:tr h="853003">
                <a:tc>
                  <a:txBody>
                    <a:bodyPr/>
                    <a:lstStyle/>
                    <a:p>
                      <a:pPr algn="ctr"/>
                      <a:r>
                        <a:rPr lang="nl-NL" sz="1700" dirty="0"/>
                        <a:t>-</a:t>
                      </a:r>
                    </a:p>
                  </a:txBody>
                  <a:tcPr marT="41564" marB="41564"/>
                </a:tc>
                <a:tc>
                  <a:txBody>
                    <a:bodyPr/>
                    <a:lstStyle/>
                    <a:p>
                      <a:pPr algn="ctr"/>
                      <a:r>
                        <a:rPr lang="nl-NL" sz="1700" dirty="0"/>
                        <a:t>-</a:t>
                      </a:r>
                    </a:p>
                  </a:txBody>
                  <a:tcPr marT="41564" marB="41564"/>
                </a:tc>
                <a:tc>
                  <a:txBody>
                    <a:bodyPr/>
                    <a:lstStyle/>
                    <a:p>
                      <a:pPr algn="ctr"/>
                      <a:r>
                        <a:rPr lang="nl-NL" sz="1700" dirty="0"/>
                        <a:t>-</a:t>
                      </a:r>
                    </a:p>
                  </a:txBody>
                  <a:tcPr marT="41564" marB="41564"/>
                </a:tc>
                <a:tc>
                  <a:txBody>
                    <a:bodyPr/>
                    <a:lstStyle/>
                    <a:p>
                      <a:pPr algn="ctr"/>
                      <a:r>
                        <a:rPr lang="nl-NL" sz="1700" dirty="0"/>
                        <a:t>-</a:t>
                      </a:r>
                    </a:p>
                  </a:txBody>
                  <a:tcPr marT="41564" marB="41564"/>
                </a:tc>
                <a:tc>
                  <a:txBody>
                    <a:bodyPr/>
                    <a:lstStyle/>
                    <a:p>
                      <a:pPr algn="ctr"/>
                      <a:r>
                        <a:rPr lang="nl-NL" sz="1700" dirty="0"/>
                        <a:t>-</a:t>
                      </a:r>
                    </a:p>
                  </a:txBody>
                  <a:tcPr marT="41564" marB="41564"/>
                </a:tc>
                <a:tc>
                  <a:txBody>
                    <a:bodyPr/>
                    <a:lstStyle/>
                    <a:p>
                      <a:pPr algn="ctr"/>
                      <a:r>
                        <a:rPr lang="nl-NL" sz="1700" dirty="0"/>
                        <a:t>-</a:t>
                      </a:r>
                    </a:p>
                  </a:txBody>
                  <a:tcPr marT="41564" marB="41564"/>
                </a:tc>
                <a:extLst>
                  <a:ext uri="{0D108BD9-81ED-4DB2-BD59-A6C34878D82A}">
                    <a16:rowId xmlns:a16="http://schemas.microsoft.com/office/drawing/2014/main" val="3737154166"/>
                  </a:ext>
                </a:extLst>
              </a:tr>
              <a:tr h="853003">
                <a:tc>
                  <a:txBody>
                    <a:bodyPr/>
                    <a:lstStyle/>
                    <a:p>
                      <a:pPr algn="ctr"/>
                      <a:r>
                        <a:rPr lang="nl-NL" sz="1700" dirty="0"/>
                        <a:t>185</a:t>
                      </a:r>
                    </a:p>
                  </a:txBody>
                  <a:tcPr marT="41564" marB="41564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l-NL" sz="18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.439</a:t>
                      </a:r>
                    </a:p>
                    <a:p>
                      <a:endParaRPr lang="nl-NL" sz="1700" dirty="0"/>
                    </a:p>
                  </a:txBody>
                  <a:tcPr marT="41564" marB="41564"/>
                </a:tc>
                <a:tc>
                  <a:txBody>
                    <a:bodyPr/>
                    <a:lstStyle/>
                    <a:p>
                      <a:endParaRPr lang="nl-NL" sz="1700"/>
                    </a:p>
                  </a:txBody>
                  <a:tcPr marT="41564" marB="41564"/>
                </a:tc>
                <a:tc>
                  <a:txBody>
                    <a:bodyPr/>
                    <a:lstStyle/>
                    <a:p>
                      <a:endParaRPr lang="nl-NL" sz="1700"/>
                    </a:p>
                  </a:txBody>
                  <a:tcPr marT="41564" marB="41564"/>
                </a:tc>
                <a:tc>
                  <a:txBody>
                    <a:bodyPr/>
                    <a:lstStyle/>
                    <a:p>
                      <a:endParaRPr lang="nl-NL" sz="1700"/>
                    </a:p>
                  </a:txBody>
                  <a:tcPr marT="41564" marB="41564"/>
                </a:tc>
                <a:tc>
                  <a:txBody>
                    <a:bodyPr/>
                    <a:lstStyle/>
                    <a:p>
                      <a:endParaRPr lang="nl-NL" sz="1700"/>
                    </a:p>
                  </a:txBody>
                  <a:tcPr marT="41564" marB="41564"/>
                </a:tc>
                <a:extLst>
                  <a:ext uri="{0D108BD9-81ED-4DB2-BD59-A6C34878D82A}">
                    <a16:rowId xmlns:a16="http://schemas.microsoft.com/office/drawing/2014/main" val="3386360118"/>
                  </a:ext>
                </a:extLst>
              </a:tr>
              <a:tr h="853003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l-NL" sz="18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0</a:t>
                      </a:r>
                    </a:p>
                    <a:p>
                      <a:endParaRPr lang="nl-NL" sz="1700" dirty="0"/>
                    </a:p>
                  </a:txBody>
                  <a:tcPr marT="41564" marB="41564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l-NL" sz="18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.413</a:t>
                      </a:r>
                    </a:p>
                    <a:p>
                      <a:endParaRPr lang="nl-NL" sz="1700" dirty="0"/>
                    </a:p>
                  </a:txBody>
                  <a:tcPr marT="41564" marB="41564"/>
                </a:tc>
                <a:tc>
                  <a:txBody>
                    <a:bodyPr/>
                    <a:lstStyle/>
                    <a:p>
                      <a:endParaRPr lang="nl-NL" sz="1700"/>
                    </a:p>
                  </a:txBody>
                  <a:tcPr marT="41564" marB="41564"/>
                </a:tc>
                <a:tc>
                  <a:txBody>
                    <a:bodyPr/>
                    <a:lstStyle/>
                    <a:p>
                      <a:endParaRPr lang="nl-NL" sz="1700"/>
                    </a:p>
                  </a:txBody>
                  <a:tcPr marT="41564" marB="41564"/>
                </a:tc>
                <a:tc>
                  <a:txBody>
                    <a:bodyPr/>
                    <a:lstStyle/>
                    <a:p>
                      <a:endParaRPr lang="nl-NL" sz="1700"/>
                    </a:p>
                  </a:txBody>
                  <a:tcPr marT="41564" marB="41564"/>
                </a:tc>
                <a:tc>
                  <a:txBody>
                    <a:bodyPr/>
                    <a:lstStyle/>
                    <a:p>
                      <a:endParaRPr lang="nl-NL" sz="1700" dirty="0"/>
                    </a:p>
                  </a:txBody>
                  <a:tcPr marT="41564" marB="41564"/>
                </a:tc>
                <a:extLst>
                  <a:ext uri="{0D108BD9-81ED-4DB2-BD59-A6C34878D82A}">
                    <a16:rowId xmlns:a16="http://schemas.microsoft.com/office/drawing/2014/main" val="3636006481"/>
                  </a:ext>
                </a:extLst>
              </a:tr>
            </a:tbl>
          </a:graphicData>
        </a:graphic>
      </p:graphicFrame>
      <p:sp>
        <p:nvSpPr>
          <p:cNvPr id="8" name="Tekstvak 7">
            <a:extLst>
              <a:ext uri="{FF2B5EF4-FFF2-40B4-BE49-F238E27FC236}">
                <a16:creationId xmlns:a16="http://schemas.microsoft.com/office/drawing/2014/main" id="{5DE0AC30-1B60-274B-8574-A98928F04B13}"/>
              </a:ext>
            </a:extLst>
          </p:cNvPr>
          <p:cNvSpPr txBox="1"/>
          <p:nvPr/>
        </p:nvSpPr>
        <p:spPr>
          <a:xfrm>
            <a:off x="10338619" y="1194619"/>
            <a:ext cx="0" cy="0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>
            <a:no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endParaRPr lang="nl-NL" sz="1600" dirty="0"/>
          </a:p>
        </p:txBody>
      </p:sp>
      <p:sp>
        <p:nvSpPr>
          <p:cNvPr id="9" name="Tekstvak 8">
            <a:extLst>
              <a:ext uri="{FF2B5EF4-FFF2-40B4-BE49-F238E27FC236}">
                <a16:creationId xmlns:a16="http://schemas.microsoft.com/office/drawing/2014/main" id="{959602F9-2A57-5C45-9C18-8DB54038F495}"/>
              </a:ext>
            </a:extLst>
          </p:cNvPr>
          <p:cNvSpPr txBox="1"/>
          <p:nvPr/>
        </p:nvSpPr>
        <p:spPr>
          <a:xfrm>
            <a:off x="10766323" y="1194619"/>
            <a:ext cx="0" cy="0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>
            <a:no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endParaRPr lang="nl-NL" sz="1600" dirty="0"/>
          </a:p>
        </p:txBody>
      </p:sp>
      <p:cxnSp>
        <p:nvCxnSpPr>
          <p:cNvPr id="51" name="LineBasicDefault 16">
            <a:extLst>
              <a:ext uri="{FF2B5EF4-FFF2-40B4-BE49-F238E27FC236}">
                <a16:creationId xmlns:a16="http://schemas.microsoft.com/office/drawing/2014/main" id="{E3D79708-299C-5C4E-9B14-5F0ADC4B4667}"/>
              </a:ext>
            </a:extLst>
          </p:cNvPr>
          <p:cNvCxnSpPr>
            <a:cxnSpLocks/>
          </p:cNvCxnSpPr>
          <p:nvPr>
            <p:custDataLst>
              <p:tags r:id="rId6"/>
            </p:custDataLst>
          </p:nvPr>
        </p:nvCxnSpPr>
        <p:spPr>
          <a:xfrm>
            <a:off x="565988" y="1737360"/>
            <a:ext cx="11071276" cy="0"/>
          </a:xfrm>
          <a:prstGeom prst="straightConnector1">
            <a:avLst/>
          </a:prstGeom>
          <a:ln w="6350" cap="sq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TextBox 46">
            <a:extLst>
              <a:ext uri="{FF2B5EF4-FFF2-40B4-BE49-F238E27FC236}">
                <a16:creationId xmlns:a16="http://schemas.microsoft.com/office/drawing/2014/main" id="{5CC24B52-0F97-6748-94D1-D388CAC91476}"/>
              </a:ext>
            </a:extLst>
          </p:cNvPr>
          <p:cNvSpPr txBox="1"/>
          <p:nvPr/>
        </p:nvSpPr>
        <p:spPr>
          <a:xfrm>
            <a:off x="565988" y="1350840"/>
            <a:ext cx="2447722" cy="307777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US" sz="2000" b="1" dirty="0">
                <a:cs typeface="+mn-cs"/>
              </a:rPr>
              <a:t>Board 6x6, game 1</a:t>
            </a:r>
            <a:endParaRPr lang="en-US" dirty="0">
              <a:cs typeface="+mn-cs"/>
            </a:endParaRP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4939952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2" hidden="1">
            <a:extLst>
              <a:ext uri="{FF2B5EF4-FFF2-40B4-BE49-F238E27FC236}">
                <a16:creationId xmlns:a16="http://schemas.microsoft.com/office/drawing/2014/main" id="{F335BC2E-68E6-43FC-ACED-AE46FEFCA151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4219"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6" name="Object 2" hidden="1">
                        <a:extLst>
                          <a:ext uri="{FF2B5EF4-FFF2-40B4-BE49-F238E27FC236}">
                            <a16:creationId xmlns:a16="http://schemas.microsoft.com/office/drawing/2014/main" id="{F335BC2E-68E6-43FC-ACED-AE46FEFCA1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" hidden="1">
            <a:extLst>
              <a:ext uri="{FF2B5EF4-FFF2-40B4-BE49-F238E27FC236}">
                <a16:creationId xmlns:a16="http://schemas.microsoft.com/office/drawing/2014/main" id="{AD4AD15D-56CF-4D77-8F3A-A842E4773D48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2500" b="1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461846" name="2. Slide Title"/>
          <p:cNvSpPr>
            <a:spLocks noGrp="1" noChangeArrowheads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321067"/>
            <a:ext cx="11082528" cy="731520"/>
          </a:xfrm>
        </p:spPr>
        <p:txBody>
          <a:bodyPr/>
          <a:lstStyle/>
          <a:p>
            <a:r>
              <a:rPr lang="en-US" dirty="0"/>
              <a:t>Comparison of the algorithms</a:t>
            </a:r>
          </a:p>
        </p:txBody>
      </p:sp>
      <p:sp>
        <p:nvSpPr>
          <p:cNvPr id="8" name="Tekstvak 7">
            <a:extLst>
              <a:ext uri="{FF2B5EF4-FFF2-40B4-BE49-F238E27FC236}">
                <a16:creationId xmlns:a16="http://schemas.microsoft.com/office/drawing/2014/main" id="{5DE0AC30-1B60-274B-8574-A98928F04B13}"/>
              </a:ext>
            </a:extLst>
          </p:cNvPr>
          <p:cNvSpPr txBox="1"/>
          <p:nvPr/>
        </p:nvSpPr>
        <p:spPr>
          <a:xfrm>
            <a:off x="10338619" y="1194619"/>
            <a:ext cx="0" cy="0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>
            <a:no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endParaRPr lang="nl-NL" sz="1600" dirty="0"/>
          </a:p>
        </p:txBody>
      </p:sp>
      <p:sp>
        <p:nvSpPr>
          <p:cNvPr id="9" name="Tekstvak 8">
            <a:extLst>
              <a:ext uri="{FF2B5EF4-FFF2-40B4-BE49-F238E27FC236}">
                <a16:creationId xmlns:a16="http://schemas.microsoft.com/office/drawing/2014/main" id="{959602F9-2A57-5C45-9C18-8DB54038F495}"/>
              </a:ext>
            </a:extLst>
          </p:cNvPr>
          <p:cNvSpPr txBox="1"/>
          <p:nvPr/>
        </p:nvSpPr>
        <p:spPr>
          <a:xfrm>
            <a:off x="10766323" y="1194619"/>
            <a:ext cx="0" cy="0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>
            <a:no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endParaRPr lang="nl-NL" sz="1600" dirty="0"/>
          </a:p>
        </p:txBody>
      </p:sp>
      <p:sp>
        <p:nvSpPr>
          <p:cNvPr id="53" name="TextBox 46">
            <a:extLst>
              <a:ext uri="{FF2B5EF4-FFF2-40B4-BE49-F238E27FC236}">
                <a16:creationId xmlns:a16="http://schemas.microsoft.com/office/drawing/2014/main" id="{5CC24B52-0F97-6748-94D1-D388CAC91476}"/>
              </a:ext>
            </a:extLst>
          </p:cNvPr>
          <p:cNvSpPr txBox="1"/>
          <p:nvPr/>
        </p:nvSpPr>
        <p:spPr>
          <a:xfrm>
            <a:off x="565988" y="1350840"/>
            <a:ext cx="2447722" cy="307777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US" sz="2000" b="1" dirty="0">
                <a:cs typeface="+mn-cs"/>
              </a:rPr>
              <a:t>Board 6x6, game 1</a:t>
            </a:r>
            <a:endParaRPr lang="en-US" dirty="0">
              <a:cs typeface="+mn-cs"/>
            </a:endParaRPr>
          </a:p>
        </p:txBody>
      </p:sp>
      <p:pic>
        <p:nvPicPr>
          <p:cNvPr id="10" name="Afbeelding 9" descr="Afbeelding met schermafbeelding&#10;&#10;Automatisch gegenereerde beschrijving">
            <a:extLst>
              <a:ext uri="{FF2B5EF4-FFF2-40B4-BE49-F238E27FC236}">
                <a16:creationId xmlns:a16="http://schemas.microsoft.com/office/drawing/2014/main" id="{D2965EAB-8C53-BB44-9340-C7BCA2077069}"/>
              </a:ext>
            </a:extLst>
          </p:cNvPr>
          <p:cNvPicPr>
            <a:picLocks noChangeAspect="1"/>
          </p:cNvPicPr>
          <p:nvPr/>
        </p:nvPicPr>
        <p:blipFill rotWithShape="1">
          <a:blip r:embed="rId10"/>
          <a:srcRect l="6188" t="7924" r="8569" b="4445"/>
          <a:stretch/>
        </p:blipFill>
        <p:spPr>
          <a:xfrm>
            <a:off x="3013710" y="1350840"/>
            <a:ext cx="6162261" cy="5035826"/>
          </a:xfrm>
          <a:prstGeom prst="rect">
            <a:avLst/>
          </a:prstGeom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val="120850316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c90ee1e1-c015-415f-8aa1-dd21303cc84c"/>
  <p:tag name="NEWVI" val="true"/>
  <p:tag name="TEMPLATELASTEDITTED" val="2019-02-25 12:05 PM"/>
  <p:tag name="TEMPLATECREATED" val="2019-02-27 01:18 PM"/>
  <p:tag name="TEMPLATEVERSION" val="3"/>
  <p:tag name="BLUEONEFOURTHTITLEFONTCOLORFIXED" val="true"/>
  <p:tag name="DARKLAYOUTNAMESCHANGEDTOCONTRAST" val="true"/>
  <p:tag name="TEMPLATELASTEDITED" val="2019-11-01 10:40 AM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traight Connector 17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HKNm6U2RZKJH1GvudQSPw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LogoImage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0sklhGDg_J5JkHAJOV5J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Grid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cd9z.T0ityQiOhevFTgFQ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LogoImage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ClientLogo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isclaimer-template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kG5iHMTSC2mGhtG.mpRUA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aJMKD2AQ9e77MMhub83YA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P6iKZZoTDSflm.OoOVoMA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sf0lKEfRW2M5NTSiP3pCQ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Ppd5uKiKgbfSxqQQ0aBGA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a5NG5p6QVlH6GlSHMQ0RQ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LogoImage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LogoImage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CPlc7ajwLYcU5YeJC_YZw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zpUKWTuKq6zfHRuH23G5A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ClientLogo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Axf0C6t4KTYaFG6OeSqtw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Default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Default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Axf0C6t4KTYaFG6OeSqt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Default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Default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OPREFERENCE" val="False"/>
  <p:tag name="DELIMITERS" val="3.1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6bVDesT3Adm8RD0_bPWD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Ub1LmWUTH66PHUHOGMc5A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IwTF52Slk2EgA.x.bEETA"/>
  <p:tag name="SHAPENAME" val="2. Slide Title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rackerNumBlue"/>
</p:tagLst>
</file>

<file path=ppt/tags/tag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Default"/>
</p:tagLst>
</file>

<file path=ppt/tags/tag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Default"/>
</p:tagLst>
</file>

<file path=ppt/tags/tag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rackerNumBlue"/>
</p:tagLst>
</file>

<file path=ppt/tags/tag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rackerNumBlue"/>
</p:tagLst>
</file>

<file path=ppt/tags/tag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rackerNumBlue"/>
</p:tagLst>
</file>

<file path=ppt/tags/tag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rackerNumBlue"/>
</p:tagLst>
</file>

<file path=ppt/tags/tag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rackerNumBlue"/>
</p:tagLst>
</file>

<file path=ppt/tags/tag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rackerNumBlu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rackerNumBlue"/>
</p:tagLst>
</file>

<file path=ppt/tags/tag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rackerNumBlue"/>
</p:tagLst>
</file>

<file path=ppt/tags/tag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rackerNumBlue"/>
</p:tagLst>
</file>

<file path=ppt/tags/tag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rackerNumBlue"/>
</p:tagLst>
</file>

<file path=ppt/tags/tag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Axf0C6t4KTYaFG6OeSqtw"/>
</p:tagLst>
</file>

<file path=ppt/tags/tag3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Default"/>
</p:tagLst>
</file>

<file path=ppt/tags/tag3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Default"/>
</p:tagLst>
</file>

<file path=ppt/tags/tag3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OPREFERENCE" val="False"/>
  <p:tag name="DELIMITERS" val="3.1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isclaimer-template"/>
</p:tagLst>
</file>

<file path=ppt/tags/tag3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6bVDesT3Adm8RD0_bPWDw"/>
</p:tagLst>
</file>

<file path=ppt/tags/tag3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IwTF52Slk2EgA.x.bEETA"/>
  <p:tag name="SHAPENAME" val="2. Slide Title"/>
</p:tagLst>
</file>

<file path=ppt/tags/tag3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Default"/>
</p:tagLst>
</file>

<file path=ppt/tags/tag3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OPREFERENCE" val="False"/>
  <p:tag name="DELIMITERS" val="3.1"/>
</p:tagLst>
</file>

<file path=ppt/tags/tag3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6bVDesT3Adm8RD0_bPWDw"/>
</p:tagLst>
</file>

<file path=ppt/tags/tag3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IwTF52Slk2EgA.x.bEETA"/>
  <p:tag name="SHAPENAME" val="2. Slide Title"/>
</p:tagLst>
</file>

<file path=ppt/tags/tag3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OPREFERENCE" val="False"/>
  <p:tag name="DELIMITERS" val="3.1"/>
</p:tagLst>
</file>

<file path=ppt/tags/tag3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6bVDesT3Adm8RD0_bPWDw"/>
</p:tagLst>
</file>

<file path=ppt/tags/tag3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IwTF52Slk2EgA.x.bEETA"/>
  <p:tag name="SHAPENAME" val="2. Slide Title"/>
</p:tagLst>
</file>

<file path=ppt/tags/tag3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OPREFERENCE" val="False"/>
  <p:tag name="DELIMITERS" val="3.1"/>
</p:tagLst>
</file>

<file path=ppt/tags/tag3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esNjkj9p_DyuC6OEkKx4w"/>
</p:tagLst>
</file>

<file path=ppt/tags/tag3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ey0c6djQ0GlCxShCmyMlg"/>
  <p:tag name="SHAPENAME" val="2. Slide Title"/>
</p:tagLst>
</file>

<file path=ppt/tags/tag3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tNN_OdVRnC_8Tatiiw6bA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e.WNeMwRPaNOv4PeDFU5Q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kXdkIixRi6Hs.rBsPur2w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HKNm6U2RZKJH1GvudQSPw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Grid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traight Connector 15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e4Ps3taQqK3C0NeBEvQLA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heme/theme1.xml><?xml version="1.0" encoding="utf-8"?>
<a:theme xmlns:a="http://schemas.openxmlformats.org/drawingml/2006/main" name="White">
  <a:themeElements>
    <a:clrScheme name="Scheme White">
      <a:dk1>
        <a:srgbClr val="000000"/>
      </a:dk1>
      <a:lt1>
        <a:srgbClr val="FFFFFF"/>
      </a:lt1>
      <a:dk2>
        <a:srgbClr val="FFFFFF"/>
      </a:dk2>
      <a:lt2>
        <a:srgbClr val="FFFFFF"/>
      </a:lt2>
      <a:accent1>
        <a:srgbClr val="051C2C"/>
      </a:accent1>
      <a:accent2>
        <a:srgbClr val="00A9F4"/>
      </a:accent2>
      <a:accent3>
        <a:srgbClr val="1F40E6"/>
      </a:accent3>
      <a:accent4>
        <a:srgbClr val="AAE6F0"/>
      </a:accent4>
      <a:accent5>
        <a:srgbClr val="3C96B4"/>
      </a:accent5>
      <a:accent6>
        <a:srgbClr val="AFC3FF"/>
      </a:accent6>
      <a:hlink>
        <a:srgbClr val="1F40E6"/>
      </a:hlink>
      <a:folHlink>
        <a:srgbClr val="8C5AC8"/>
      </a:folHlink>
    </a:clrScheme>
    <a:fontScheme name="Scheme White Fonts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 w="6350" cap="sq">
          <a:noFill/>
          <a:miter lim="800000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300"/>
          </a:spcBef>
          <a:spcAft>
            <a:spcPts val="300"/>
          </a:spcAft>
          <a:defRPr sz="1600" dirty="0" err="1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sq">
          <a:solidFill>
            <a:srgbClr val="000000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6350">
          <a:noFill/>
          <a:miter lim="800000"/>
        </a:ln>
      </a:spPr>
      <a:bodyPr vert="horz"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buNone/>
          <a:defRPr sz="1600" dirty="0" smtClean="0"/>
        </a:defPPr>
      </a:lstStyle>
    </a:txDef>
  </a:objectDefaults>
  <a:extraClrSchemeLst>
    <a:extraClrScheme>
      <a:clrScheme name="Scheme White">
        <a:dk1>
          <a:srgbClr val="000000"/>
        </a:dk1>
        <a:lt1>
          <a:srgbClr val="FFFFFF"/>
        </a:lt1>
        <a:dk2>
          <a:srgbClr val="FFFFFF"/>
        </a:dk2>
        <a:lt2>
          <a:srgbClr val="FFFFFF"/>
        </a:lt2>
        <a:accent1>
          <a:srgbClr val="051C2C"/>
        </a:accent1>
        <a:accent2>
          <a:srgbClr val="00A9F4"/>
        </a:accent2>
        <a:accent3>
          <a:srgbClr val="1F40E6"/>
        </a:accent3>
        <a:accent4>
          <a:srgbClr val="AAE6F0"/>
        </a:accent4>
        <a:accent5>
          <a:srgbClr val="3C96B4"/>
        </a:accent5>
        <a:accent6>
          <a:srgbClr val="AFC3FF"/>
        </a:accent6>
        <a:hlink>
          <a:srgbClr val="1F40E6"/>
        </a:hlink>
        <a:folHlink>
          <a:srgbClr val="8C5AC8"/>
        </a:folHlink>
      </a:clrScheme>
    </a:extraClrScheme>
  </a:extraClrSchemeLst>
  <a:custClrLst>
    <a:custClr name="Deep Blue">
      <a:srgbClr val="051C2C"/>
    </a:custClr>
    <a:custClr name="Cyan">
      <a:srgbClr val="00A9F4"/>
    </a:custClr>
    <a:custClr name="Electric Blue">
      <a:srgbClr val="1F40E6"/>
    </a:custClr>
    <a:custClr name="Pale Blue">
      <a:srgbClr val="AAE6F0"/>
    </a:custClr>
    <a:custClr name="Turquoise">
      <a:srgbClr val="3C96B4"/>
    </a:custClr>
    <a:custClr name="Pale Electric Blue">
      <a:srgbClr val="AFC3FF"/>
    </a:custClr>
    <a:custClr name="Purple">
      <a:srgbClr val="8C5AC8"/>
    </a:custClr>
    <a:custClr name="Pink">
      <a:srgbClr val="E6A0C8"/>
    </a:custClr>
    <a:custClr name="Red">
      <a:srgbClr val="E5546C"/>
    </a:custClr>
    <a:custClr name="Orange">
      <a:srgbClr val="FAA082"/>
    </a:custClr>
    <a:custClr name="Dark Gray">
      <a:srgbClr val="4D4D4D"/>
    </a:custClr>
    <a:custClr name="Mid Gray">
      <a:srgbClr val="7F7F7F"/>
    </a:custClr>
    <a:custClr name="Light Gray">
      <a:srgbClr val="B3B3B3"/>
    </a:custClr>
    <a:custClr name="Super Light Gray">
      <a:srgbClr val="D0D0D0"/>
    </a:custClr>
    <a:custClr name="Pale Gray">
      <a:srgbClr val="E6E6E6"/>
    </a:custClr>
    <a:custClr name="Null">
      <a:srgbClr val="FFFFFF"/>
    </a:custClr>
    <a:custClr name="Null">
      <a:srgbClr val="FFFFFF"/>
    </a:custClr>
    <a:custClr name="Null">
      <a:srgbClr val="FFFFFF"/>
    </a:custClr>
    <a:custClr name="Null">
      <a:srgbClr val="FFFFFF"/>
    </a:custClr>
    <a:custClr name="Null">
      <a:srgbClr val="FFFFFF"/>
    </a:custClr>
    <a:custClr name="Linear 1 (Deep Blue)">
      <a:srgbClr val="051C2C"/>
    </a:custClr>
    <a:custClr name="Linear 2">
      <a:srgbClr val="034B6F"/>
    </a:custClr>
    <a:custClr name="Linear 3">
      <a:srgbClr val="027AB1"/>
    </a:custClr>
    <a:custClr name="Linear 4 (Cyan)">
      <a:srgbClr val="00A9F4"/>
    </a:custClr>
    <a:custClr name="Linear 5">
      <a:srgbClr val="39BDF3"/>
    </a:custClr>
    <a:custClr name="Linear 6">
      <a:srgbClr val="71D2F1"/>
    </a:custClr>
    <a:custClr name="Linear 7 (Pale Blue)">
      <a:srgbClr val="AAE6F0"/>
    </a:custClr>
    <a:custClr name="Null">
      <a:srgbClr val="FFFFFF"/>
    </a:custClr>
    <a:custClr name="Null">
      <a:srgbClr val="FFFFFF"/>
    </a:custClr>
    <a:custClr name="Null">
      <a:srgbClr val="FFFFFF"/>
    </a:custClr>
  </a:custClrLst>
  <a:extLst>
    <a:ext uri="{05A4C25C-085E-4340-85A3-A5531E510DB2}">
      <thm15:themeFamily xmlns:thm15="http://schemas.microsoft.com/office/thememl/2012/main" name="OneFirm-English (United States)-Wide.potx" id="{50FC1F8C-36A8-43E0-A709-09110D5475E7}" vid="{B89EF835-3564-4FB3-A7E4-97DE50749BA2}"/>
    </a:ext>
  </a:extLst>
</a:theme>
</file>

<file path=ppt/theme/theme2.xml><?xml version="1.0" encoding="utf-8"?>
<a:theme xmlns:a="http://schemas.openxmlformats.org/drawingml/2006/main" name="Contrast">
  <a:themeElements>
    <a:clrScheme name="Scheme Blue">
      <a:dk1>
        <a:srgbClr val="FFFFFF"/>
      </a:dk1>
      <a:lt1>
        <a:srgbClr val="051C2C"/>
      </a:lt1>
      <a:dk2>
        <a:srgbClr val="000000"/>
      </a:dk2>
      <a:lt2>
        <a:srgbClr val="000000"/>
      </a:lt2>
      <a:accent1>
        <a:srgbClr val="FFFFFF"/>
      </a:accent1>
      <a:accent2>
        <a:srgbClr val="00A9F4"/>
      </a:accent2>
      <a:accent3>
        <a:srgbClr val="1F40E6"/>
      </a:accent3>
      <a:accent4>
        <a:srgbClr val="AAE6F0"/>
      </a:accent4>
      <a:accent5>
        <a:srgbClr val="3C96B4"/>
      </a:accent5>
      <a:accent6>
        <a:srgbClr val="AFC3FF"/>
      </a:accent6>
      <a:hlink>
        <a:srgbClr val="00A9F4"/>
      </a:hlink>
      <a:folHlink>
        <a:srgbClr val="8C5AC8"/>
      </a:folHlink>
    </a:clrScheme>
    <a:fontScheme name="Scheme Blue Fonts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1"/>
        </a:solidFill>
        <a:ln w="6350" cap="sq">
          <a:noFill/>
          <a:miter lim="800000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300"/>
          </a:spcBef>
          <a:spcAft>
            <a:spcPts val="300"/>
          </a:spcAft>
          <a:defRPr sz="1600"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sq">
          <a:solidFill>
            <a:schemeClr val="tx1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6350">
          <a:noFill/>
          <a:miter lim="800000"/>
        </a:ln>
      </a:spPr>
      <a:bodyPr vert="horz"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buNone/>
          <a:defRPr sz="1600" dirty="0" smtClean="0"/>
        </a:defPPr>
      </a:lstStyle>
    </a:txDef>
  </a:objectDefaults>
  <a:extraClrSchemeLst>
    <a:extraClrScheme>
      <a:clrScheme name="Scheme Blue">
        <a:dk1>
          <a:srgbClr val="FFFFFF"/>
        </a:dk1>
        <a:lt1>
          <a:srgbClr val="051C2C"/>
        </a:lt1>
        <a:dk2>
          <a:srgbClr val="000000"/>
        </a:dk2>
        <a:lt2>
          <a:srgbClr val="000000"/>
        </a:lt2>
        <a:accent1>
          <a:srgbClr val="FFFFFF"/>
        </a:accent1>
        <a:accent2>
          <a:srgbClr val="00A9F4"/>
        </a:accent2>
        <a:accent3>
          <a:srgbClr val="1F40E6"/>
        </a:accent3>
        <a:accent4>
          <a:srgbClr val="AAE6F0"/>
        </a:accent4>
        <a:accent5>
          <a:srgbClr val="3C96B4"/>
        </a:accent5>
        <a:accent6>
          <a:srgbClr val="AFC3FF"/>
        </a:accent6>
        <a:hlink>
          <a:srgbClr val="00A9F4"/>
        </a:hlink>
        <a:folHlink>
          <a:srgbClr val="8C5AC8"/>
        </a:folHlink>
      </a:clrScheme>
    </a:extraClrScheme>
  </a:extraClrSchemeLst>
  <a:custClrLst>
    <a:custClr name="Deep Blue">
      <a:srgbClr val="051C2C"/>
    </a:custClr>
    <a:custClr name="Cyan">
      <a:srgbClr val="00A9F4"/>
    </a:custClr>
    <a:custClr name="Electric Blue">
      <a:srgbClr val="1F40E6"/>
    </a:custClr>
    <a:custClr name="Pale Blue">
      <a:srgbClr val="AAE6F0"/>
    </a:custClr>
    <a:custClr name="Turquoise">
      <a:srgbClr val="3C96B4"/>
    </a:custClr>
    <a:custClr name="Pale Electric Blue">
      <a:srgbClr val="AFC3FF"/>
    </a:custClr>
    <a:custClr name="Purple">
      <a:srgbClr val="8C5AC8"/>
    </a:custClr>
    <a:custClr name="Pink">
      <a:srgbClr val="E6A0C8"/>
    </a:custClr>
    <a:custClr name="Red">
      <a:srgbClr val="E5546C"/>
    </a:custClr>
    <a:custClr name="Orange">
      <a:srgbClr val="FAA082"/>
    </a:custClr>
    <a:custClr name="Dark Gray">
      <a:srgbClr val="4D4D4D"/>
    </a:custClr>
    <a:custClr name="Mid Gray">
      <a:srgbClr val="7F7F7F"/>
    </a:custClr>
    <a:custClr name="Light Gray">
      <a:srgbClr val="B3B3B3"/>
    </a:custClr>
    <a:custClr name="Super Light Gray">
      <a:srgbClr val="D0D0D0"/>
    </a:custClr>
    <a:custClr name="Pale Gray">
      <a:srgbClr val="E6E6E6"/>
    </a:custClr>
    <a:custClr name="Null">
      <a:srgbClr val="FFFFFF"/>
    </a:custClr>
    <a:custClr name="Null">
      <a:srgbClr val="FFFFFF"/>
    </a:custClr>
    <a:custClr name="Null">
      <a:srgbClr val="FFFFFF"/>
    </a:custClr>
    <a:custClr name="Null">
      <a:srgbClr val="FFFFFF"/>
    </a:custClr>
    <a:custClr name="Null">
      <a:srgbClr val="FFFFFF"/>
    </a:custClr>
    <a:custClr name="Linear 1 (White)">
      <a:srgbClr val="FFFFFF"/>
    </a:custClr>
    <a:custClr name="Linear 2 (Pale Blue)">
      <a:srgbClr val="AAE6F0"/>
    </a:custClr>
    <a:custClr name="Linear 3">
      <a:srgbClr val="71D2F1"/>
    </a:custClr>
    <a:custClr name="Linear 4 (Cyan)">
      <a:srgbClr val="00A9F4"/>
    </a:custClr>
    <a:custClr name="Linear 5">
      <a:srgbClr val="39BDF3"/>
    </a:custClr>
    <a:custClr name="Linear 6">
      <a:srgbClr val="71D2F1"/>
    </a:custClr>
    <a:custClr name="Linear 7 (Pale Blue)">
      <a:srgbClr val="AAE6F0"/>
    </a:custClr>
    <a:custClr name="Null">
      <a:srgbClr val="FFFFFF"/>
    </a:custClr>
    <a:custClr name="Null">
      <a:srgbClr val="FFFFFF"/>
    </a:custClr>
    <a:custClr name="Null">
      <a:srgbClr val="FFFFFF"/>
    </a:custClr>
  </a:custClrLst>
  <a:extLst>
    <a:ext uri="{05A4C25C-085E-4340-85A3-A5531E510DB2}">
      <thm15:themeFamily xmlns:thm15="http://schemas.microsoft.com/office/thememl/2012/main" name="OneFirm-English (United States)-Wide.potx" id="{50FC1F8C-36A8-43E0-A709-09110D5475E7}" vid="{00C64DB9-B4DC-496F-9AB5-5DAD18BDE97C}"/>
    </a:ext>
  </a:extLst>
</a:theme>
</file>

<file path=ppt/theme/theme3.xml><?xml version="1.0" encoding="utf-8"?>
<a:theme xmlns:a="http://schemas.openxmlformats.org/drawingml/2006/main" name="Office Theme">
  <a:themeElements>
    <a:clrScheme name="Custom Scheme">
      <a:dk1>
        <a:srgbClr val="000000"/>
      </a:dk1>
      <a:lt1>
        <a:srgbClr val="FFFFFF"/>
      </a:lt1>
      <a:dk2>
        <a:srgbClr val="051C2C"/>
      </a:dk2>
      <a:lt2>
        <a:srgbClr val="FFFFFF"/>
      </a:lt2>
      <a:accent1>
        <a:srgbClr val="051C2C"/>
      </a:accent1>
      <a:accent2>
        <a:srgbClr val="00A9F4"/>
      </a:accent2>
      <a:accent3>
        <a:srgbClr val="1F40E6"/>
      </a:accent3>
      <a:accent4>
        <a:srgbClr val="AAE6F0"/>
      </a:accent4>
      <a:accent5>
        <a:srgbClr val="3C96B4"/>
      </a:accent5>
      <a:accent6>
        <a:srgbClr val="AFC3FF"/>
      </a:accent6>
      <a:hlink>
        <a:srgbClr val="00A9F4"/>
      </a:hlink>
      <a:folHlink>
        <a:srgbClr val="00A9F4"/>
      </a:folHlink>
    </a:clrScheme>
    <a:fontScheme name="Custom Scheme Fonts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Custom Scheme">
      <a:dk1>
        <a:srgbClr val="000000"/>
      </a:dk1>
      <a:lt1>
        <a:srgbClr val="FFFFFF"/>
      </a:lt1>
      <a:dk2>
        <a:srgbClr val="051C2C"/>
      </a:dk2>
      <a:lt2>
        <a:srgbClr val="FFFFFF"/>
      </a:lt2>
      <a:accent1>
        <a:srgbClr val="051C2C"/>
      </a:accent1>
      <a:accent2>
        <a:srgbClr val="00A9F4"/>
      </a:accent2>
      <a:accent3>
        <a:srgbClr val="1F40E6"/>
      </a:accent3>
      <a:accent4>
        <a:srgbClr val="AAE6F0"/>
      </a:accent4>
      <a:accent5>
        <a:srgbClr val="3C96B4"/>
      </a:accent5>
      <a:accent6>
        <a:srgbClr val="AFC3FF"/>
      </a:accent6>
      <a:hlink>
        <a:srgbClr val="00A9F4"/>
      </a:hlink>
      <a:folHlink>
        <a:srgbClr val="00A9F4"/>
      </a:folHlink>
    </a:clrScheme>
    <a:fontScheme name="Custom Scheme2 Fonts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4750</TotalTime>
  <Words>684</Words>
  <Application>Microsoft Macintosh PowerPoint</Application>
  <PresentationFormat>Breedbeeld</PresentationFormat>
  <Paragraphs>200</Paragraphs>
  <Slides>11</Slides>
  <Notes>6</Notes>
  <HiddenSlides>3</HiddenSlides>
  <MMClips>0</MMClips>
  <ScaleCrop>false</ScaleCrop>
  <HeadingPairs>
    <vt:vector size="8" baseType="variant">
      <vt:variant>
        <vt:lpstr>Gebruikte lettertypen</vt:lpstr>
      </vt:variant>
      <vt:variant>
        <vt:i4>4</vt:i4>
      </vt:variant>
      <vt:variant>
        <vt:lpstr>Thema</vt:lpstr>
      </vt:variant>
      <vt:variant>
        <vt:i4>2</vt:i4>
      </vt:variant>
      <vt:variant>
        <vt:lpstr>Ingesloten OLE-bronprogramma's</vt:lpstr>
      </vt:variant>
      <vt:variant>
        <vt:i4>1</vt:i4>
      </vt:variant>
      <vt:variant>
        <vt:lpstr>Diatitels</vt:lpstr>
      </vt:variant>
      <vt:variant>
        <vt:i4>11</vt:i4>
      </vt:variant>
    </vt:vector>
  </HeadingPairs>
  <TitlesOfParts>
    <vt:vector size="18" baseType="lpstr">
      <vt:lpstr>Segoe UI</vt:lpstr>
      <vt:lpstr>Arial</vt:lpstr>
      <vt:lpstr>Georgia</vt:lpstr>
      <vt:lpstr>Wingdings</vt:lpstr>
      <vt:lpstr>White</vt:lpstr>
      <vt:lpstr>Contrast</vt:lpstr>
      <vt:lpstr>think-cell Slide</vt:lpstr>
      <vt:lpstr>Rushhour</vt:lpstr>
      <vt:lpstr>Game setup</vt:lpstr>
      <vt:lpstr>Visualization</vt:lpstr>
      <vt:lpstr>Random algorithm is able to give a valid solution for first 6 games</vt:lpstr>
      <vt:lpstr>Random advanced algorithm met heuristiek </vt:lpstr>
      <vt:lpstr>Breadth-first &amp; depth-first</vt:lpstr>
      <vt:lpstr>Random algorithm test</vt:lpstr>
      <vt:lpstr>Comparison of the algorithms</vt:lpstr>
      <vt:lpstr>Comparison of the algorithms</vt:lpstr>
      <vt:lpstr>Looking forward</vt:lpstr>
      <vt:lpstr>Project planning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One Firm Template</dc:title>
  <dc:subject/>
  <dc:creator>Bart Zeeuw van der Laan</dc:creator>
  <cp:keywords/>
  <dc:description/>
  <cp:lastModifiedBy>F. Berkhout</cp:lastModifiedBy>
  <cp:revision>97</cp:revision>
  <cp:lastPrinted>2018-10-30T20:37:12Z</cp:lastPrinted>
  <dcterms:created xsi:type="dcterms:W3CDTF">2020-01-08T13:33:45Z</dcterms:created>
  <dcterms:modified xsi:type="dcterms:W3CDTF">2020-01-22T10:46:58Z</dcterms:modified>
  <cp:category/>
  <cp:contentStatus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NXPowerLiteLastOptimized">
    <vt:lpwstr>1628964</vt:lpwstr>
  </property>
  <property fmtid="{D5CDD505-2E9C-101B-9397-08002B2CF9AE}" pid="3" name="NXPowerLiteSettings">
    <vt:lpwstr>C9000A38044001</vt:lpwstr>
  </property>
  <property fmtid="{D5CDD505-2E9C-101B-9397-08002B2CF9AE}" pid="4" name="NXPowerLiteVersion">
    <vt:lpwstr>D7.1.14</vt:lpwstr>
  </property>
  <property fmtid="{D5CDD505-2E9C-101B-9397-08002B2CF9AE}" pid="5" name="PPT">
    <vt:lpwstr>Hello</vt:lpwstr>
  </property>
  <property fmtid="{D5CDD505-2E9C-101B-9397-08002B2CF9AE}" pid="6" name="TemplateVersion">
    <vt:lpwstr>4</vt:lpwstr>
  </property>
  <property fmtid="{D5CDD505-2E9C-101B-9397-08002B2CF9AE}" pid="7" name="TemplateLastEdited">
    <vt:lpwstr>2019-11-01 10:40 AM</vt:lpwstr>
  </property>
  <property fmtid="{D5CDD505-2E9C-101B-9397-08002B2CF9AE}" pid="8" name="TemplateCreated">
    <vt:lpwstr>2019-02-27 01:18 PM</vt:lpwstr>
  </property>
</Properties>
</file>